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sldIdLst>
    <p:sldId id="317" r:id="rId2"/>
    <p:sldId id="318" r:id="rId3"/>
    <p:sldId id="319" r:id="rId4"/>
    <p:sldId id="321" r:id="rId5"/>
    <p:sldId id="322" r:id="rId6"/>
    <p:sldId id="323" r:id="rId7"/>
    <p:sldId id="320" r:id="rId8"/>
    <p:sldId id="324" r:id="rId9"/>
    <p:sldId id="325" r:id="rId10"/>
    <p:sldId id="344" r:id="rId11"/>
    <p:sldId id="345" r:id="rId12"/>
    <p:sldId id="346" r:id="rId13"/>
    <p:sldId id="347" r:id="rId14"/>
    <p:sldId id="326" r:id="rId15"/>
    <p:sldId id="327" r:id="rId16"/>
    <p:sldId id="328" r:id="rId17"/>
    <p:sldId id="329" r:id="rId18"/>
    <p:sldId id="330" r:id="rId19"/>
    <p:sldId id="331" r:id="rId20"/>
    <p:sldId id="332" r:id="rId21"/>
    <p:sldId id="333" r:id="rId22"/>
    <p:sldId id="334" r:id="rId23"/>
    <p:sldId id="335" r:id="rId24"/>
    <p:sldId id="336" r:id="rId25"/>
    <p:sldId id="337" r:id="rId26"/>
    <p:sldId id="339" r:id="rId27"/>
    <p:sldId id="340" r:id="rId28"/>
    <p:sldId id="348" r:id="rId29"/>
    <p:sldId id="349" r:id="rId30"/>
    <p:sldId id="350" r:id="rId31"/>
    <p:sldId id="341" r:id="rId32"/>
    <p:sldId id="342" r:id="rId33"/>
    <p:sldId id="343" r:id="rId3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89A"/>
    <a:srgbClr val="EFF1F5"/>
    <a:srgbClr val="005DA2"/>
    <a:srgbClr val="FF6659"/>
    <a:srgbClr val="E0E03C"/>
    <a:srgbClr val="C79C39"/>
    <a:srgbClr val="004D86"/>
    <a:srgbClr val="52CCB0"/>
    <a:srgbClr val="D52B1E"/>
    <a:srgbClr val="C2C2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النمط المتوسط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النمط الداكن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النمط المتوسط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النمط المتوسط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1651" y="26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رأس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عنصر نائب للتاريخ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fld id="{A593E7F0-7BCC-412B-ACCA-3CD831A16CC5}" type="datetimeFigureOut">
              <a:rPr lang="en-US" smtClean="0"/>
              <a:t>7/18/2024</a:t>
            </a:fld>
            <a:endParaRPr lang="en-US"/>
          </a:p>
        </p:txBody>
      </p:sp>
      <p:sp>
        <p:nvSpPr>
          <p:cNvPr id="4" name="عنصر نائب لصورة الشريحة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en-US"/>
          </a:p>
        </p:txBody>
      </p:sp>
      <p:sp>
        <p:nvSpPr>
          <p:cNvPr id="5" name="عنصر نائب للملاحظات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ar-SA"/>
              <a:t>تحرير أنماط النص الرئيسي</a:t>
            </a:r>
          </a:p>
          <a:p>
            <a:pPr lvl="1"/>
            <a:r>
              <a:rPr lang="ar-SA"/>
              <a:t>المستوى الثاني</a:t>
            </a:r>
          </a:p>
          <a:p>
            <a:pPr lvl="2"/>
            <a:r>
              <a:rPr lang="ar-SA"/>
              <a:t>المستوى الثالث</a:t>
            </a:r>
          </a:p>
          <a:p>
            <a:pPr lvl="3"/>
            <a:r>
              <a:rPr lang="ar-SA"/>
              <a:t>المستوى الرابع</a:t>
            </a:r>
          </a:p>
          <a:p>
            <a:pPr lvl="4"/>
            <a:r>
              <a:rPr lang="ar-SA"/>
              <a:t>المستوى الخامس</a:t>
            </a:r>
            <a:endParaRPr lang="en-US"/>
          </a:p>
        </p:txBody>
      </p:sp>
      <p:sp>
        <p:nvSpPr>
          <p:cNvPr id="6" name="عنصر نائب للتذييل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عنصر نائب لرقم الشريحة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fld id="{BCE844B2-9172-4EF5-A6CD-A4EC35605B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50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C79F2D-285C-D44E-B10F-2544539AF337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02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705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1117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2979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5648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6577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26427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9075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2615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9508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51873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9817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4000">
              <a:srgbClr val="005D84"/>
            </a:gs>
            <a:gs pos="21000">
              <a:srgbClr val="003E58"/>
            </a:gs>
            <a:gs pos="0">
              <a:schemeClr val="bg1">
                <a:lumMod val="0"/>
                <a:alpha val="69000"/>
              </a:schemeClr>
            </a:gs>
            <a:gs pos="54000">
              <a:schemeClr val="accent5">
                <a:lumMod val="89000"/>
                <a:alpha val="98000"/>
              </a:schemeClr>
            </a:gs>
            <a:gs pos="65000">
              <a:schemeClr val="accent5">
                <a:lumMod val="75000"/>
              </a:schemeClr>
            </a:gs>
            <a:gs pos="100000">
              <a:schemeClr val="bg1">
                <a:lumMod val="9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2C133E-D732-4125-82D7-0543ED6E00DB}" type="datetimeFigureOut">
              <a:rPr lang="en-IN" smtClean="0"/>
              <a:t>18-07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19E522-5240-4129-98CD-B13D5F4ED9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5352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fi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fi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fi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jfif"/><Relationship Id="rId4" Type="http://schemas.openxmlformats.org/officeDocument/2006/relationships/image" Target="../media/image38.jfi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fi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fi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fif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fif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fi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" name="Rectangle 1038">
            <a:extLst>
              <a:ext uri="{FF2B5EF4-FFF2-40B4-BE49-F238E27FC236}">
                <a16:creationId xmlns:a16="http://schemas.microsoft.com/office/drawing/2014/main" id="{69367706-A017-44AE-B9F4-C4BA41A68440}"/>
              </a:ext>
            </a:extLst>
          </p:cNvPr>
          <p:cNvSpPr/>
          <p:nvPr/>
        </p:nvSpPr>
        <p:spPr>
          <a:xfrm>
            <a:off x="1896284" y="969739"/>
            <a:ext cx="500285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800" b="1" dirty="0"/>
              <a:t>CREDIT CARD Fraud Detection</a:t>
            </a:r>
          </a:p>
          <a:p>
            <a:pPr algn="ctr"/>
            <a:r>
              <a:rPr lang="en-IN" sz="2400" b="1" dirty="0">
                <a:latin typeface="Arial" panose="020B0604020202020204" pitchFamily="34" charset="0"/>
                <a:cs typeface="Arial" panose="020B0604020202020204" pitchFamily="34" charset="0"/>
              </a:rPr>
              <a:t>Using Machine Learn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A3C66D-7391-4B4F-9CC9-756F28893091}"/>
              </a:ext>
            </a:extLst>
          </p:cNvPr>
          <p:cNvGrpSpPr/>
          <p:nvPr/>
        </p:nvGrpSpPr>
        <p:grpSpPr>
          <a:xfrm>
            <a:off x="87087" y="1732992"/>
            <a:ext cx="8344044" cy="4214962"/>
            <a:chOff x="566713" y="1167655"/>
            <a:chExt cx="10291008" cy="503449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D6B9075-762F-4B89-9AEE-2DEF43E1185D}"/>
                </a:ext>
              </a:extLst>
            </p:cNvPr>
            <p:cNvGrpSpPr/>
            <p:nvPr/>
          </p:nvGrpSpPr>
          <p:grpSpPr>
            <a:xfrm>
              <a:off x="566713" y="1167655"/>
              <a:ext cx="6945142" cy="5034499"/>
              <a:chOff x="2623429" y="1341694"/>
              <a:chExt cx="6945142" cy="5034499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19863EFA-76F4-43E7-BF49-0F3F7DC32547}"/>
                  </a:ext>
                </a:extLst>
              </p:cNvPr>
              <p:cNvGrpSpPr/>
              <p:nvPr/>
            </p:nvGrpSpPr>
            <p:grpSpPr>
              <a:xfrm>
                <a:off x="2623429" y="1341694"/>
                <a:ext cx="6945142" cy="5034499"/>
                <a:chOff x="2910438" y="1341694"/>
                <a:chExt cx="6945142" cy="5034499"/>
              </a:xfrm>
            </p:grpSpPr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40993B81-B715-4ACA-BEEA-CAA60AD8AAD8}"/>
                    </a:ext>
                  </a:extLst>
                </p:cNvPr>
                <p:cNvSpPr/>
                <p:nvPr/>
              </p:nvSpPr>
              <p:spPr>
                <a:xfrm>
                  <a:off x="3147825" y="4663415"/>
                  <a:ext cx="141027" cy="291260"/>
                </a:xfrm>
                <a:custGeom>
                  <a:avLst/>
                  <a:gdLst>
                    <a:gd name="connsiteX0" fmla="*/ 4181 w 141027"/>
                    <a:gd name="connsiteY0" fmla="*/ 291261 h 291260"/>
                    <a:gd name="connsiteX1" fmla="*/ 1230 w 141027"/>
                    <a:gd name="connsiteY1" fmla="*/ 290056 h 291260"/>
                    <a:gd name="connsiteX2" fmla="*/ 1205 w 141027"/>
                    <a:gd name="connsiteY2" fmla="*/ 284195 h 291260"/>
                    <a:gd name="connsiteX3" fmla="*/ 1230 w 141027"/>
                    <a:gd name="connsiteY3" fmla="*/ 284154 h 291260"/>
                    <a:gd name="connsiteX4" fmla="*/ 132737 w 141027"/>
                    <a:gd name="connsiteY4" fmla="*/ 3724 h 291260"/>
                    <a:gd name="connsiteX5" fmla="*/ 137305 w 141027"/>
                    <a:gd name="connsiteY5" fmla="*/ 25 h 291260"/>
                    <a:gd name="connsiteX6" fmla="*/ 137309 w 141027"/>
                    <a:gd name="connsiteY6" fmla="*/ 25 h 291260"/>
                    <a:gd name="connsiteX7" fmla="*/ 141008 w 141027"/>
                    <a:gd name="connsiteY7" fmla="*/ 4555 h 291260"/>
                    <a:gd name="connsiteX8" fmla="*/ 7090 w 141027"/>
                    <a:gd name="connsiteY8" fmla="*/ 290098 h 291260"/>
                    <a:gd name="connsiteX9" fmla="*/ 4181 w 141027"/>
                    <a:gd name="connsiteY9" fmla="*/ 291261 h 291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1027" h="291260">
                      <a:moveTo>
                        <a:pt x="4181" y="291261"/>
                      </a:moveTo>
                      <a:cubicBezTo>
                        <a:pt x="3075" y="291261"/>
                        <a:pt x="2015" y="290845"/>
                        <a:pt x="1230" y="290056"/>
                      </a:cubicBezTo>
                      <a:cubicBezTo>
                        <a:pt x="-399" y="288435"/>
                        <a:pt x="-412" y="285816"/>
                        <a:pt x="1205" y="284195"/>
                      </a:cubicBezTo>
                      <a:cubicBezTo>
                        <a:pt x="1213" y="284154"/>
                        <a:pt x="1222" y="284154"/>
                        <a:pt x="1230" y="284154"/>
                      </a:cubicBezTo>
                      <a:cubicBezTo>
                        <a:pt x="2394" y="283031"/>
                        <a:pt x="115696" y="169397"/>
                        <a:pt x="132737" y="3724"/>
                      </a:cubicBezTo>
                      <a:cubicBezTo>
                        <a:pt x="132978" y="1438"/>
                        <a:pt x="135023" y="-225"/>
                        <a:pt x="137305" y="25"/>
                      </a:cubicBezTo>
                      <a:cubicBezTo>
                        <a:pt x="137305" y="25"/>
                        <a:pt x="137309" y="25"/>
                        <a:pt x="137309" y="25"/>
                      </a:cubicBezTo>
                      <a:cubicBezTo>
                        <a:pt x="139574" y="274"/>
                        <a:pt x="141224" y="2269"/>
                        <a:pt x="141008" y="4555"/>
                      </a:cubicBezTo>
                      <a:cubicBezTo>
                        <a:pt x="123676" y="173303"/>
                        <a:pt x="8254" y="288934"/>
                        <a:pt x="7090" y="290098"/>
                      </a:cubicBezTo>
                      <a:cubicBezTo>
                        <a:pt x="6309" y="290845"/>
                        <a:pt x="5266" y="291261"/>
                        <a:pt x="4181" y="2912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D52F45D9-84CD-4EA0-805A-94C98BD8CC7B}"/>
                    </a:ext>
                  </a:extLst>
                </p:cNvPr>
                <p:cNvSpPr/>
                <p:nvPr/>
              </p:nvSpPr>
              <p:spPr>
                <a:xfrm>
                  <a:off x="2975109" y="5192816"/>
                  <a:ext cx="60066" cy="400900"/>
                </a:xfrm>
                <a:custGeom>
                  <a:avLst/>
                  <a:gdLst>
                    <a:gd name="connsiteX0" fmla="*/ 4158 w 60066"/>
                    <a:gd name="connsiteY0" fmla="*/ 400900 h 400900"/>
                    <a:gd name="connsiteX1" fmla="*/ 2080 w 60066"/>
                    <a:gd name="connsiteY1" fmla="*/ 400319 h 400900"/>
                    <a:gd name="connsiteX2" fmla="*/ 542 w 60066"/>
                    <a:gd name="connsiteY2" fmla="*/ 394666 h 400900"/>
                    <a:gd name="connsiteX3" fmla="*/ 34790 w 60066"/>
                    <a:gd name="connsiteY3" fmla="*/ 5048 h 400900"/>
                    <a:gd name="connsiteX4" fmla="*/ 37908 w 60066"/>
                    <a:gd name="connsiteY4" fmla="*/ 102 h 400900"/>
                    <a:gd name="connsiteX5" fmla="*/ 42895 w 60066"/>
                    <a:gd name="connsiteY5" fmla="*/ 3220 h 400900"/>
                    <a:gd name="connsiteX6" fmla="*/ 42895 w 60066"/>
                    <a:gd name="connsiteY6" fmla="*/ 3220 h 400900"/>
                    <a:gd name="connsiteX7" fmla="*/ 7774 w 60066"/>
                    <a:gd name="connsiteY7" fmla="*/ 398781 h 400900"/>
                    <a:gd name="connsiteX8" fmla="*/ 4158 w 60066"/>
                    <a:gd name="connsiteY8" fmla="*/ 400900 h 400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0066" h="400900">
                      <a:moveTo>
                        <a:pt x="4158" y="400900"/>
                      </a:moveTo>
                      <a:cubicBezTo>
                        <a:pt x="3426" y="400900"/>
                        <a:pt x="2707" y="400693"/>
                        <a:pt x="2080" y="400319"/>
                      </a:cubicBezTo>
                      <a:cubicBezTo>
                        <a:pt x="101" y="399196"/>
                        <a:pt x="-585" y="396661"/>
                        <a:pt x="542" y="394666"/>
                      </a:cubicBezTo>
                      <a:cubicBezTo>
                        <a:pt x="1415" y="393128"/>
                        <a:pt x="87285" y="239135"/>
                        <a:pt x="34790" y="5048"/>
                      </a:cubicBezTo>
                      <a:cubicBezTo>
                        <a:pt x="34300" y="2804"/>
                        <a:pt x="35688" y="601"/>
                        <a:pt x="37908" y="102"/>
                      </a:cubicBezTo>
                      <a:cubicBezTo>
                        <a:pt x="40144" y="-396"/>
                        <a:pt x="42376" y="975"/>
                        <a:pt x="42895" y="3220"/>
                      </a:cubicBezTo>
                      <a:cubicBezTo>
                        <a:pt x="42895" y="3220"/>
                        <a:pt x="42895" y="3220"/>
                        <a:pt x="42895" y="3220"/>
                      </a:cubicBezTo>
                      <a:cubicBezTo>
                        <a:pt x="96138" y="240631"/>
                        <a:pt x="8647" y="397243"/>
                        <a:pt x="7774" y="398781"/>
                      </a:cubicBezTo>
                      <a:cubicBezTo>
                        <a:pt x="7038" y="400069"/>
                        <a:pt x="5658" y="400900"/>
                        <a:pt x="4158" y="4009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00E69E20-EF84-43E6-9255-D0F45BF88BB1}"/>
                    </a:ext>
                  </a:extLst>
                </p:cNvPr>
                <p:cNvSpPr/>
                <p:nvPr/>
              </p:nvSpPr>
              <p:spPr>
                <a:xfrm>
                  <a:off x="9313149" y="4091668"/>
                  <a:ext cx="109220" cy="298365"/>
                </a:xfrm>
                <a:custGeom>
                  <a:avLst/>
                  <a:gdLst>
                    <a:gd name="connsiteX0" fmla="*/ 105198 w 109220"/>
                    <a:gd name="connsiteY0" fmla="*/ 298366 h 298365"/>
                    <a:gd name="connsiteX1" fmla="*/ 102206 w 109220"/>
                    <a:gd name="connsiteY1" fmla="*/ 297119 h 298365"/>
                    <a:gd name="connsiteX2" fmla="*/ 1 w 109220"/>
                    <a:gd name="connsiteY2" fmla="*/ 4262 h 298365"/>
                    <a:gd name="connsiteX3" fmla="*/ 4074 w 109220"/>
                    <a:gd name="connsiteY3" fmla="*/ 1 h 298365"/>
                    <a:gd name="connsiteX4" fmla="*/ 8313 w 109220"/>
                    <a:gd name="connsiteY4" fmla="*/ 4054 h 298365"/>
                    <a:gd name="connsiteX5" fmla="*/ 108066 w 109220"/>
                    <a:gd name="connsiteY5" fmla="*/ 291342 h 298365"/>
                    <a:gd name="connsiteX6" fmla="*/ 107941 w 109220"/>
                    <a:gd name="connsiteY6" fmla="*/ 297202 h 298365"/>
                    <a:gd name="connsiteX7" fmla="*/ 105074 w 109220"/>
                    <a:gd name="connsiteY7" fmla="*/ 298366 h 298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9220" h="298365">
                      <a:moveTo>
                        <a:pt x="105198" y="298366"/>
                      </a:moveTo>
                      <a:cubicBezTo>
                        <a:pt x="104076" y="298366"/>
                        <a:pt x="102996" y="297909"/>
                        <a:pt x="102206" y="297119"/>
                      </a:cubicBezTo>
                      <a:cubicBezTo>
                        <a:pt x="101250" y="296122"/>
                        <a:pt x="5071" y="194748"/>
                        <a:pt x="1" y="4262"/>
                      </a:cubicBezTo>
                      <a:cubicBezTo>
                        <a:pt x="-41" y="1967"/>
                        <a:pt x="1746" y="59"/>
                        <a:pt x="4074" y="1"/>
                      </a:cubicBezTo>
                      <a:cubicBezTo>
                        <a:pt x="6360" y="-57"/>
                        <a:pt x="8272" y="1759"/>
                        <a:pt x="8313" y="4054"/>
                      </a:cubicBezTo>
                      <a:cubicBezTo>
                        <a:pt x="13301" y="191090"/>
                        <a:pt x="107235" y="290344"/>
                        <a:pt x="108066" y="291342"/>
                      </a:cubicBezTo>
                      <a:cubicBezTo>
                        <a:pt x="109646" y="293004"/>
                        <a:pt x="109604" y="295623"/>
                        <a:pt x="107941" y="297202"/>
                      </a:cubicBezTo>
                      <a:cubicBezTo>
                        <a:pt x="107152" y="297950"/>
                        <a:pt x="106154" y="298366"/>
                        <a:pt x="105074" y="298366"/>
                      </a:cubicBezTo>
                      <a:close/>
                    </a:path>
                  </a:pathLst>
                </a:custGeom>
                <a:solidFill>
                  <a:srgbClr val="BDD0FB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463" name="Freeform: Shape 1462">
                  <a:extLst>
                    <a:ext uri="{FF2B5EF4-FFF2-40B4-BE49-F238E27FC236}">
                      <a16:creationId xmlns:a16="http://schemas.microsoft.com/office/drawing/2014/main" id="{510F7DFE-40EF-4E19-BE2E-0CA360EF1233}"/>
                    </a:ext>
                  </a:extLst>
                </p:cNvPr>
                <p:cNvSpPr/>
                <p:nvPr/>
              </p:nvSpPr>
              <p:spPr>
                <a:xfrm>
                  <a:off x="9082197" y="4623895"/>
                  <a:ext cx="141024" cy="291295"/>
                </a:xfrm>
                <a:custGeom>
                  <a:avLst/>
                  <a:gdLst>
                    <a:gd name="connsiteX0" fmla="*/ 136894 w 141024"/>
                    <a:gd name="connsiteY0" fmla="*/ 291295 h 291295"/>
                    <a:gd name="connsiteX1" fmla="*/ 133984 w 141024"/>
                    <a:gd name="connsiteY1" fmla="*/ 290090 h 291295"/>
                    <a:gd name="connsiteX2" fmla="*/ 25 w 141024"/>
                    <a:gd name="connsiteY2" fmla="*/ 4589 h 291295"/>
                    <a:gd name="connsiteX3" fmla="*/ 3724 w 141024"/>
                    <a:gd name="connsiteY3" fmla="*/ 18 h 291295"/>
                    <a:gd name="connsiteX4" fmla="*/ 3766 w 141024"/>
                    <a:gd name="connsiteY4" fmla="*/ 18 h 291295"/>
                    <a:gd name="connsiteX5" fmla="*/ 8296 w 141024"/>
                    <a:gd name="connsiteY5" fmla="*/ 3758 h 291295"/>
                    <a:gd name="connsiteX6" fmla="*/ 139803 w 141024"/>
                    <a:gd name="connsiteY6" fmla="*/ 284188 h 291295"/>
                    <a:gd name="connsiteX7" fmla="*/ 139845 w 141024"/>
                    <a:gd name="connsiteY7" fmla="*/ 290049 h 291295"/>
                    <a:gd name="connsiteX8" fmla="*/ 136894 w 141024"/>
                    <a:gd name="connsiteY8" fmla="*/ 291295 h 291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1024" h="291295">
                      <a:moveTo>
                        <a:pt x="136894" y="291295"/>
                      </a:moveTo>
                      <a:cubicBezTo>
                        <a:pt x="135813" y="291295"/>
                        <a:pt x="134774" y="290838"/>
                        <a:pt x="133984" y="290090"/>
                      </a:cubicBezTo>
                      <a:cubicBezTo>
                        <a:pt x="132821" y="288926"/>
                        <a:pt x="17606" y="173297"/>
                        <a:pt x="25" y="4589"/>
                      </a:cubicBezTo>
                      <a:cubicBezTo>
                        <a:pt x="-224" y="2304"/>
                        <a:pt x="1438" y="267"/>
                        <a:pt x="3724" y="18"/>
                      </a:cubicBezTo>
                      <a:cubicBezTo>
                        <a:pt x="3724" y="18"/>
                        <a:pt x="3766" y="18"/>
                        <a:pt x="3766" y="18"/>
                      </a:cubicBezTo>
                      <a:cubicBezTo>
                        <a:pt x="6052" y="-190"/>
                        <a:pt x="8088" y="1472"/>
                        <a:pt x="8296" y="3758"/>
                      </a:cubicBezTo>
                      <a:cubicBezTo>
                        <a:pt x="25337" y="169514"/>
                        <a:pt x="138639" y="283066"/>
                        <a:pt x="139803" y="284188"/>
                      </a:cubicBezTo>
                      <a:cubicBezTo>
                        <a:pt x="141424" y="285809"/>
                        <a:pt x="141424" y="288428"/>
                        <a:pt x="139845" y="290049"/>
                      </a:cubicBezTo>
                      <a:cubicBezTo>
                        <a:pt x="139055" y="290838"/>
                        <a:pt x="138016" y="291295"/>
                        <a:pt x="136894" y="291295"/>
                      </a:cubicBezTo>
                      <a:close/>
                    </a:path>
                  </a:pathLst>
                </a:custGeom>
                <a:solidFill>
                  <a:srgbClr val="BDD0FB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464" name="Freeform: Shape 1463">
                  <a:extLst>
                    <a:ext uri="{FF2B5EF4-FFF2-40B4-BE49-F238E27FC236}">
                      <a16:creationId xmlns:a16="http://schemas.microsoft.com/office/drawing/2014/main" id="{517B027A-6F06-463E-9D00-F32FD8C8CCF3}"/>
                    </a:ext>
                  </a:extLst>
                </p:cNvPr>
                <p:cNvSpPr/>
                <p:nvPr/>
              </p:nvSpPr>
              <p:spPr>
                <a:xfrm>
                  <a:off x="9219874" y="4797206"/>
                  <a:ext cx="294747" cy="120519"/>
                </a:xfrm>
                <a:custGeom>
                  <a:avLst/>
                  <a:gdLst>
                    <a:gd name="connsiteX0" fmla="*/ 8859 w 294747"/>
                    <a:gd name="connsiteY0" fmla="*/ 120520 h 120519"/>
                    <a:gd name="connsiteX1" fmla="*/ 3913 w 294747"/>
                    <a:gd name="connsiteY1" fmla="*/ 120520 h 120519"/>
                    <a:gd name="connsiteX2" fmla="*/ 6 w 294747"/>
                    <a:gd name="connsiteY2" fmla="*/ 116114 h 120519"/>
                    <a:gd name="connsiteX3" fmla="*/ 4412 w 294747"/>
                    <a:gd name="connsiteY3" fmla="*/ 112207 h 120519"/>
                    <a:gd name="connsiteX4" fmla="*/ 287918 w 294747"/>
                    <a:gd name="connsiteY4" fmla="*/ 941 h 120519"/>
                    <a:gd name="connsiteX5" fmla="*/ 293820 w 294747"/>
                    <a:gd name="connsiteY5" fmla="*/ 1565 h 120519"/>
                    <a:gd name="connsiteX6" fmla="*/ 293196 w 294747"/>
                    <a:gd name="connsiteY6" fmla="*/ 7425 h 120519"/>
                    <a:gd name="connsiteX7" fmla="*/ 8859 w 294747"/>
                    <a:gd name="connsiteY7" fmla="*/ 120520 h 120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4747" h="120519">
                      <a:moveTo>
                        <a:pt x="8859" y="120520"/>
                      </a:moveTo>
                      <a:cubicBezTo>
                        <a:pt x="5784" y="120520"/>
                        <a:pt x="4079" y="120520"/>
                        <a:pt x="3913" y="120520"/>
                      </a:cubicBezTo>
                      <a:cubicBezTo>
                        <a:pt x="1627" y="120395"/>
                        <a:pt x="-118" y="118400"/>
                        <a:pt x="6" y="116114"/>
                      </a:cubicBezTo>
                      <a:cubicBezTo>
                        <a:pt x="131" y="113828"/>
                        <a:pt x="2126" y="112082"/>
                        <a:pt x="4412" y="112207"/>
                      </a:cubicBezTo>
                      <a:cubicBezTo>
                        <a:pt x="5784" y="112207"/>
                        <a:pt x="142902" y="118733"/>
                        <a:pt x="287918" y="941"/>
                      </a:cubicBezTo>
                      <a:cubicBezTo>
                        <a:pt x="289705" y="-513"/>
                        <a:pt x="292323" y="-264"/>
                        <a:pt x="293820" y="1565"/>
                      </a:cubicBezTo>
                      <a:cubicBezTo>
                        <a:pt x="295274" y="3352"/>
                        <a:pt x="294984" y="5970"/>
                        <a:pt x="293196" y="7425"/>
                      </a:cubicBezTo>
                      <a:cubicBezTo>
                        <a:pt x="161149" y="114535"/>
                        <a:pt x="35086" y="120520"/>
                        <a:pt x="8859" y="120520"/>
                      </a:cubicBezTo>
                      <a:close/>
                    </a:path>
                  </a:pathLst>
                </a:custGeom>
                <a:solidFill>
                  <a:srgbClr val="BDD0FB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471" name="Freeform: Shape 1470">
                  <a:extLst>
                    <a:ext uri="{FF2B5EF4-FFF2-40B4-BE49-F238E27FC236}">
                      <a16:creationId xmlns:a16="http://schemas.microsoft.com/office/drawing/2014/main" id="{542ED6C8-5B23-45C8-BD45-31DE17EF359A}"/>
                    </a:ext>
                  </a:extLst>
                </p:cNvPr>
                <p:cNvSpPr/>
                <p:nvPr/>
              </p:nvSpPr>
              <p:spPr>
                <a:xfrm>
                  <a:off x="9393456" y="5540958"/>
                  <a:ext cx="408746" cy="44712"/>
                </a:xfrm>
                <a:custGeom>
                  <a:avLst/>
                  <a:gdLst>
                    <a:gd name="connsiteX0" fmla="*/ 195178 w 408746"/>
                    <a:gd name="connsiteY0" fmla="*/ 44696 h 44712"/>
                    <a:gd name="connsiteX1" fmla="*/ 2655 w 408746"/>
                    <a:gd name="connsiteY1" fmla="*/ 17305 h 44712"/>
                    <a:gd name="connsiteX2" fmla="*/ 286 w 408746"/>
                    <a:gd name="connsiteY2" fmla="*/ 11943 h 44712"/>
                    <a:gd name="connsiteX3" fmla="*/ 5357 w 408746"/>
                    <a:gd name="connsiteY3" fmla="*/ 9450 h 44712"/>
                    <a:gd name="connsiteX4" fmla="*/ 402913 w 408746"/>
                    <a:gd name="connsiteY4" fmla="*/ 347 h 44712"/>
                    <a:gd name="connsiteX5" fmla="*/ 408400 w 408746"/>
                    <a:gd name="connsiteY5" fmla="*/ 2467 h 44712"/>
                    <a:gd name="connsiteX6" fmla="*/ 406280 w 408746"/>
                    <a:gd name="connsiteY6" fmla="*/ 7954 h 44712"/>
                    <a:gd name="connsiteX7" fmla="*/ 405822 w 408746"/>
                    <a:gd name="connsiteY7" fmla="*/ 8119 h 44712"/>
                    <a:gd name="connsiteX8" fmla="*/ 195178 w 408746"/>
                    <a:gd name="connsiteY8" fmla="*/ 44696 h 44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8746" h="44712">
                      <a:moveTo>
                        <a:pt x="195178" y="44696"/>
                      </a:moveTo>
                      <a:cubicBezTo>
                        <a:pt x="84452" y="44696"/>
                        <a:pt x="3985" y="17721"/>
                        <a:pt x="2655" y="17305"/>
                      </a:cubicBezTo>
                      <a:cubicBezTo>
                        <a:pt x="494" y="16474"/>
                        <a:pt x="-546" y="14063"/>
                        <a:pt x="286" y="11943"/>
                      </a:cubicBezTo>
                      <a:cubicBezTo>
                        <a:pt x="1076" y="9907"/>
                        <a:pt x="3279" y="8826"/>
                        <a:pt x="5357" y="9450"/>
                      </a:cubicBezTo>
                      <a:cubicBezTo>
                        <a:pt x="7310" y="10115"/>
                        <a:pt x="202701" y="75453"/>
                        <a:pt x="402913" y="347"/>
                      </a:cubicBezTo>
                      <a:cubicBezTo>
                        <a:pt x="405033" y="-567"/>
                        <a:pt x="407484" y="389"/>
                        <a:pt x="408400" y="2467"/>
                      </a:cubicBezTo>
                      <a:cubicBezTo>
                        <a:pt x="409314" y="4587"/>
                        <a:pt x="408358" y="7039"/>
                        <a:pt x="406280" y="7954"/>
                      </a:cubicBezTo>
                      <a:cubicBezTo>
                        <a:pt x="406113" y="8037"/>
                        <a:pt x="405989" y="8078"/>
                        <a:pt x="405822" y="8119"/>
                      </a:cubicBezTo>
                      <a:cubicBezTo>
                        <a:pt x="338365" y="32850"/>
                        <a:pt x="267000" y="45236"/>
                        <a:pt x="195178" y="44696"/>
                      </a:cubicBezTo>
                      <a:close/>
                    </a:path>
                  </a:pathLst>
                </a:custGeom>
                <a:solidFill>
                  <a:srgbClr val="DAE3F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04" name="Freeform: Shape 1503">
                  <a:extLst>
                    <a:ext uri="{FF2B5EF4-FFF2-40B4-BE49-F238E27FC236}">
                      <a16:creationId xmlns:a16="http://schemas.microsoft.com/office/drawing/2014/main" id="{D557A961-E710-43C2-8C8F-8FBB710FA7FC}"/>
                    </a:ext>
                  </a:extLst>
                </p:cNvPr>
                <p:cNvSpPr/>
                <p:nvPr/>
              </p:nvSpPr>
              <p:spPr>
                <a:xfrm>
                  <a:off x="9335940" y="5153185"/>
                  <a:ext cx="60067" cy="401005"/>
                </a:xfrm>
                <a:custGeom>
                  <a:avLst/>
                  <a:gdLst>
                    <a:gd name="connsiteX0" fmla="*/ 55890 w 60067"/>
                    <a:gd name="connsiteY0" fmla="*/ 401005 h 401005"/>
                    <a:gd name="connsiteX1" fmla="*/ 52315 w 60067"/>
                    <a:gd name="connsiteY1" fmla="*/ 398927 h 401005"/>
                    <a:gd name="connsiteX2" fmla="*/ 17194 w 60067"/>
                    <a:gd name="connsiteY2" fmla="*/ 3366 h 401005"/>
                    <a:gd name="connsiteX3" fmla="*/ 22057 w 60067"/>
                    <a:gd name="connsiteY3" fmla="*/ 82 h 401005"/>
                    <a:gd name="connsiteX4" fmla="*/ 25340 w 60067"/>
                    <a:gd name="connsiteY4" fmla="*/ 4945 h 401005"/>
                    <a:gd name="connsiteX5" fmla="*/ 25299 w 60067"/>
                    <a:gd name="connsiteY5" fmla="*/ 5195 h 401005"/>
                    <a:gd name="connsiteX6" fmla="*/ 59506 w 60067"/>
                    <a:gd name="connsiteY6" fmla="*/ 394771 h 401005"/>
                    <a:gd name="connsiteX7" fmla="*/ 57968 w 60067"/>
                    <a:gd name="connsiteY7" fmla="*/ 400465 h 401005"/>
                    <a:gd name="connsiteX8" fmla="*/ 55890 w 60067"/>
                    <a:gd name="connsiteY8" fmla="*/ 401005 h 401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0067" h="401005">
                      <a:moveTo>
                        <a:pt x="55890" y="401005"/>
                      </a:moveTo>
                      <a:cubicBezTo>
                        <a:pt x="54393" y="401005"/>
                        <a:pt x="53064" y="400216"/>
                        <a:pt x="52315" y="398927"/>
                      </a:cubicBezTo>
                      <a:cubicBezTo>
                        <a:pt x="51401" y="397348"/>
                        <a:pt x="-36091" y="240736"/>
                        <a:pt x="17194" y="3366"/>
                      </a:cubicBezTo>
                      <a:cubicBezTo>
                        <a:pt x="17610" y="1121"/>
                        <a:pt x="19813" y="-375"/>
                        <a:pt x="22057" y="82"/>
                      </a:cubicBezTo>
                      <a:cubicBezTo>
                        <a:pt x="24301" y="498"/>
                        <a:pt x="25798" y="2701"/>
                        <a:pt x="25340" y="4945"/>
                      </a:cubicBezTo>
                      <a:cubicBezTo>
                        <a:pt x="25340" y="5029"/>
                        <a:pt x="25340" y="5112"/>
                        <a:pt x="25299" y="5195"/>
                      </a:cubicBezTo>
                      <a:cubicBezTo>
                        <a:pt x="-27279" y="239447"/>
                        <a:pt x="58550" y="393274"/>
                        <a:pt x="59506" y="394771"/>
                      </a:cubicBezTo>
                      <a:cubicBezTo>
                        <a:pt x="60670" y="396766"/>
                        <a:pt x="59963" y="399301"/>
                        <a:pt x="57968" y="400465"/>
                      </a:cubicBezTo>
                      <a:cubicBezTo>
                        <a:pt x="57345" y="400797"/>
                        <a:pt x="56638" y="401005"/>
                        <a:pt x="55890" y="401005"/>
                      </a:cubicBezTo>
                      <a:close/>
                    </a:path>
                  </a:pathLst>
                </a:custGeom>
                <a:solidFill>
                  <a:srgbClr val="DAE3F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05" name="Rectangle: Rounded Corners 1504">
                  <a:extLst>
                    <a:ext uri="{FF2B5EF4-FFF2-40B4-BE49-F238E27FC236}">
                      <a16:creationId xmlns:a16="http://schemas.microsoft.com/office/drawing/2014/main" id="{D769F039-C1DF-46EF-AC65-7DE683A9E6E3}"/>
                    </a:ext>
                  </a:extLst>
                </p:cNvPr>
                <p:cNvSpPr/>
                <p:nvPr/>
              </p:nvSpPr>
              <p:spPr>
                <a:xfrm>
                  <a:off x="2910438" y="2146621"/>
                  <a:ext cx="6586664" cy="4023666"/>
                </a:xfrm>
                <a:prstGeom prst="roundRect">
                  <a:avLst>
                    <a:gd name="adj" fmla="val 2919"/>
                  </a:avLst>
                </a:prstGeom>
                <a:gradFill>
                  <a:gsLst>
                    <a:gs pos="0">
                      <a:srgbClr val="00589A"/>
                    </a:gs>
                    <a:gs pos="100000">
                      <a:srgbClr val="005DA2"/>
                    </a:gs>
                  </a:gsLst>
                  <a:lin ang="5400000" scaled="1"/>
                </a:gra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07" name="Freeform: Shape 1506">
                  <a:extLst>
                    <a:ext uri="{FF2B5EF4-FFF2-40B4-BE49-F238E27FC236}">
                      <a16:creationId xmlns:a16="http://schemas.microsoft.com/office/drawing/2014/main" id="{73010384-6AEF-4358-B3B3-DA08AEC3BF32}"/>
                    </a:ext>
                  </a:extLst>
                </p:cNvPr>
                <p:cNvSpPr/>
                <p:nvPr/>
              </p:nvSpPr>
              <p:spPr>
                <a:xfrm>
                  <a:off x="8506030" y="3890111"/>
                  <a:ext cx="837548" cy="2213346"/>
                </a:xfrm>
                <a:custGeom>
                  <a:avLst/>
                  <a:gdLst>
                    <a:gd name="connsiteX0" fmla="*/ 665850 w 837548"/>
                    <a:gd name="connsiteY0" fmla="*/ 2213347 h 2213346"/>
                    <a:gd name="connsiteX1" fmla="*/ 4156 w 837548"/>
                    <a:gd name="connsiteY1" fmla="*/ 2213347 h 2213346"/>
                    <a:gd name="connsiteX2" fmla="*/ 0 w 837548"/>
                    <a:gd name="connsiteY2" fmla="*/ 2209190 h 2213346"/>
                    <a:gd name="connsiteX3" fmla="*/ 4156 w 837548"/>
                    <a:gd name="connsiteY3" fmla="*/ 2205034 h 2213346"/>
                    <a:gd name="connsiteX4" fmla="*/ 665850 w 837548"/>
                    <a:gd name="connsiteY4" fmla="*/ 2205034 h 2213346"/>
                    <a:gd name="connsiteX5" fmla="*/ 829236 w 837548"/>
                    <a:gd name="connsiteY5" fmla="*/ 2036909 h 2213346"/>
                    <a:gd name="connsiteX6" fmla="*/ 829236 w 837548"/>
                    <a:gd name="connsiteY6" fmla="*/ 4156 h 2213346"/>
                    <a:gd name="connsiteX7" fmla="*/ 833393 w 837548"/>
                    <a:gd name="connsiteY7" fmla="*/ 0 h 2213346"/>
                    <a:gd name="connsiteX8" fmla="*/ 837549 w 837548"/>
                    <a:gd name="connsiteY8" fmla="*/ 4156 h 2213346"/>
                    <a:gd name="connsiteX9" fmla="*/ 837549 w 837548"/>
                    <a:gd name="connsiteY9" fmla="*/ 2036909 h 2213346"/>
                    <a:gd name="connsiteX10" fmla="*/ 665850 w 837548"/>
                    <a:gd name="connsiteY10" fmla="*/ 2213347 h 22133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37548" h="2213346">
                      <a:moveTo>
                        <a:pt x="665850" y="2213347"/>
                      </a:moveTo>
                      <a:lnTo>
                        <a:pt x="4156" y="2213347"/>
                      </a:lnTo>
                      <a:cubicBezTo>
                        <a:pt x="1871" y="2213347"/>
                        <a:pt x="0" y="2211477"/>
                        <a:pt x="0" y="2209190"/>
                      </a:cubicBezTo>
                      <a:cubicBezTo>
                        <a:pt x="0" y="2206905"/>
                        <a:pt x="1871" y="2205034"/>
                        <a:pt x="4156" y="2205034"/>
                      </a:cubicBezTo>
                      <a:lnTo>
                        <a:pt x="665850" y="2205034"/>
                      </a:lnTo>
                      <a:cubicBezTo>
                        <a:pt x="752884" y="2205034"/>
                        <a:pt x="829236" y="2126479"/>
                        <a:pt x="829236" y="2036909"/>
                      </a:cubicBezTo>
                      <a:lnTo>
                        <a:pt x="829236" y="4156"/>
                      </a:lnTo>
                      <a:cubicBezTo>
                        <a:pt x="829236" y="1862"/>
                        <a:pt x="831106" y="0"/>
                        <a:pt x="833393" y="0"/>
                      </a:cubicBezTo>
                      <a:cubicBezTo>
                        <a:pt x="835679" y="0"/>
                        <a:pt x="837549" y="1862"/>
                        <a:pt x="837549" y="4156"/>
                      </a:cubicBezTo>
                      <a:lnTo>
                        <a:pt x="837549" y="2036909"/>
                      </a:lnTo>
                      <a:cubicBezTo>
                        <a:pt x="837549" y="2130885"/>
                        <a:pt x="757331" y="2213347"/>
                        <a:pt x="665850" y="2213347"/>
                      </a:cubicBezTo>
                      <a:close/>
                    </a:path>
                  </a:pathLst>
                </a:custGeom>
                <a:solidFill>
                  <a:srgbClr val="91B3FA"/>
                </a:solidFill>
                <a:ln w="4156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08" name="Freeform: Shape 1507">
                  <a:extLst>
                    <a:ext uri="{FF2B5EF4-FFF2-40B4-BE49-F238E27FC236}">
                      <a16:creationId xmlns:a16="http://schemas.microsoft.com/office/drawing/2014/main" id="{F3BA76F8-3117-4F68-AD6C-591C5B286AC5}"/>
                    </a:ext>
                  </a:extLst>
                </p:cNvPr>
                <p:cNvSpPr/>
                <p:nvPr/>
              </p:nvSpPr>
              <p:spPr>
                <a:xfrm>
                  <a:off x="2995575" y="2223707"/>
                  <a:ext cx="743340" cy="1412384"/>
                </a:xfrm>
                <a:custGeom>
                  <a:avLst/>
                  <a:gdLst>
                    <a:gd name="connsiteX0" fmla="*/ 4173 w 743340"/>
                    <a:gd name="connsiteY0" fmla="*/ 1412384 h 1412384"/>
                    <a:gd name="connsiteX1" fmla="*/ 17 w 743340"/>
                    <a:gd name="connsiteY1" fmla="*/ 1408228 h 1412384"/>
                    <a:gd name="connsiteX2" fmla="*/ 17 w 743340"/>
                    <a:gd name="connsiteY2" fmla="*/ 215351 h 1412384"/>
                    <a:gd name="connsiteX3" fmla="*/ 59203 w 743340"/>
                    <a:gd name="connsiteY3" fmla="*/ 62813 h 1412384"/>
                    <a:gd name="connsiteX4" fmla="*/ 208333 w 743340"/>
                    <a:gd name="connsiteY4" fmla="*/ 10 h 1412384"/>
                    <a:gd name="connsiteX5" fmla="*/ 739184 w 743340"/>
                    <a:gd name="connsiteY5" fmla="*/ 10 h 1412384"/>
                    <a:gd name="connsiteX6" fmla="*/ 743340 w 743340"/>
                    <a:gd name="connsiteY6" fmla="*/ 4167 h 1412384"/>
                    <a:gd name="connsiteX7" fmla="*/ 739184 w 743340"/>
                    <a:gd name="connsiteY7" fmla="*/ 8323 h 1412384"/>
                    <a:gd name="connsiteX8" fmla="*/ 208333 w 743340"/>
                    <a:gd name="connsiteY8" fmla="*/ 8323 h 1412384"/>
                    <a:gd name="connsiteX9" fmla="*/ 8329 w 743340"/>
                    <a:gd name="connsiteY9" fmla="*/ 215393 h 1412384"/>
                    <a:gd name="connsiteX10" fmla="*/ 8329 w 743340"/>
                    <a:gd name="connsiteY10" fmla="*/ 1408269 h 1412384"/>
                    <a:gd name="connsiteX11" fmla="*/ 4173 w 743340"/>
                    <a:gd name="connsiteY11" fmla="*/ 1412384 h 14123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43340" h="1412384">
                      <a:moveTo>
                        <a:pt x="4173" y="1412384"/>
                      </a:moveTo>
                      <a:cubicBezTo>
                        <a:pt x="1879" y="1412384"/>
                        <a:pt x="17" y="1410522"/>
                        <a:pt x="17" y="1408228"/>
                      </a:cubicBezTo>
                      <a:lnTo>
                        <a:pt x="17" y="215351"/>
                      </a:lnTo>
                      <a:cubicBezTo>
                        <a:pt x="-678" y="158771"/>
                        <a:pt x="20528" y="104115"/>
                        <a:pt x="59203" y="62813"/>
                      </a:cubicBezTo>
                      <a:cubicBezTo>
                        <a:pt x="98107" y="22180"/>
                        <a:pt x="152081" y="-551"/>
                        <a:pt x="208333" y="10"/>
                      </a:cubicBezTo>
                      <a:lnTo>
                        <a:pt x="739184" y="10"/>
                      </a:lnTo>
                      <a:cubicBezTo>
                        <a:pt x="741478" y="10"/>
                        <a:pt x="743340" y="1872"/>
                        <a:pt x="743340" y="4167"/>
                      </a:cubicBezTo>
                      <a:cubicBezTo>
                        <a:pt x="743340" y="6461"/>
                        <a:pt x="741478" y="8323"/>
                        <a:pt x="739184" y="8323"/>
                      </a:cubicBezTo>
                      <a:lnTo>
                        <a:pt x="208333" y="8323"/>
                      </a:lnTo>
                      <a:cubicBezTo>
                        <a:pt x="94324" y="8323"/>
                        <a:pt x="8329" y="97352"/>
                        <a:pt x="8329" y="215393"/>
                      </a:cubicBezTo>
                      <a:lnTo>
                        <a:pt x="8329" y="1408269"/>
                      </a:lnTo>
                      <a:cubicBezTo>
                        <a:pt x="8308" y="1410547"/>
                        <a:pt x="6451" y="1412384"/>
                        <a:pt x="4173" y="1412384"/>
                      </a:cubicBezTo>
                      <a:close/>
                    </a:path>
                  </a:pathLst>
                </a:custGeom>
                <a:solidFill>
                  <a:srgbClr val="91B3FA"/>
                </a:solidFill>
                <a:ln w="4156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19" name="Freeform: Shape 1518">
                  <a:extLst>
                    <a:ext uri="{FF2B5EF4-FFF2-40B4-BE49-F238E27FC236}">
                      <a16:creationId xmlns:a16="http://schemas.microsoft.com/office/drawing/2014/main" id="{9B689791-FE96-4615-97ED-5C864C1EF2B4}"/>
                    </a:ext>
                  </a:extLst>
                </p:cNvPr>
                <p:cNvSpPr/>
                <p:nvPr/>
              </p:nvSpPr>
              <p:spPr>
                <a:xfrm>
                  <a:off x="3443408" y="2775786"/>
                  <a:ext cx="1130780" cy="273280"/>
                </a:xfrm>
                <a:custGeom>
                  <a:avLst/>
                  <a:gdLst>
                    <a:gd name="connsiteX0" fmla="*/ 1130780 w 1130780"/>
                    <a:gd name="connsiteY0" fmla="*/ 136661 h 273280"/>
                    <a:gd name="connsiteX1" fmla="*/ 994161 w 1130780"/>
                    <a:gd name="connsiteY1" fmla="*/ 273281 h 273280"/>
                    <a:gd name="connsiteX2" fmla="*/ 136661 w 1130780"/>
                    <a:gd name="connsiteY2" fmla="*/ 273281 h 273280"/>
                    <a:gd name="connsiteX3" fmla="*/ 0 w 1130780"/>
                    <a:gd name="connsiteY3" fmla="*/ 136661 h 273280"/>
                    <a:gd name="connsiteX4" fmla="*/ 0 w 1130780"/>
                    <a:gd name="connsiteY4" fmla="*/ 136661 h 273280"/>
                    <a:gd name="connsiteX5" fmla="*/ 136661 w 1130780"/>
                    <a:gd name="connsiteY5" fmla="*/ 0 h 273280"/>
                    <a:gd name="connsiteX6" fmla="*/ 994161 w 1130780"/>
                    <a:gd name="connsiteY6" fmla="*/ 0 h 273280"/>
                    <a:gd name="connsiteX7" fmla="*/ 1130780 w 1130780"/>
                    <a:gd name="connsiteY7" fmla="*/ 136661 h 273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0780" h="273280">
                      <a:moveTo>
                        <a:pt x="1130780" y="136661"/>
                      </a:moveTo>
                      <a:cubicBezTo>
                        <a:pt x="1130780" y="212116"/>
                        <a:pt x="1069615" y="273281"/>
                        <a:pt x="994161" y="273281"/>
                      </a:cubicBezTo>
                      <a:lnTo>
                        <a:pt x="136661" y="273281"/>
                      </a:lnTo>
                      <a:cubicBezTo>
                        <a:pt x="61203" y="273281"/>
                        <a:pt x="25" y="212120"/>
                        <a:pt x="0" y="136661"/>
                      </a:cubicBezTo>
                      <a:lnTo>
                        <a:pt x="0" y="136661"/>
                      </a:lnTo>
                      <a:cubicBezTo>
                        <a:pt x="0" y="61186"/>
                        <a:pt x="61186" y="0"/>
                        <a:pt x="136661" y="0"/>
                      </a:cubicBezTo>
                      <a:lnTo>
                        <a:pt x="994161" y="0"/>
                      </a:lnTo>
                      <a:cubicBezTo>
                        <a:pt x="1069620" y="25"/>
                        <a:pt x="1130780" y="61202"/>
                        <a:pt x="1130780" y="1366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IN" sz="1050" b="1" dirty="0"/>
                    <a:t>BANK</a:t>
                  </a:r>
                </a:p>
              </p:txBody>
            </p:sp>
            <p:sp>
              <p:nvSpPr>
                <p:cNvPr id="1527" name="Freeform: Shape 1526">
                  <a:extLst>
                    <a:ext uri="{FF2B5EF4-FFF2-40B4-BE49-F238E27FC236}">
                      <a16:creationId xmlns:a16="http://schemas.microsoft.com/office/drawing/2014/main" id="{05527343-E205-4228-A023-58288A18396E}"/>
                    </a:ext>
                  </a:extLst>
                </p:cNvPr>
                <p:cNvSpPr/>
                <p:nvPr/>
              </p:nvSpPr>
              <p:spPr>
                <a:xfrm>
                  <a:off x="3883692" y="1341694"/>
                  <a:ext cx="297028" cy="157879"/>
                </a:xfrm>
                <a:custGeom>
                  <a:avLst/>
                  <a:gdLst>
                    <a:gd name="connsiteX0" fmla="*/ 296764 w 297028"/>
                    <a:gd name="connsiteY0" fmla="*/ 157880 h 157879"/>
                    <a:gd name="connsiteX1" fmla="*/ 297014 w 297028"/>
                    <a:gd name="connsiteY1" fmla="*/ 150357 h 157879"/>
                    <a:gd name="connsiteX2" fmla="*/ 290073 w 297028"/>
                    <a:gd name="connsiteY2" fmla="*/ 134064 h 157879"/>
                    <a:gd name="connsiteX3" fmla="*/ 18163 w 297028"/>
                    <a:gd name="connsiteY3" fmla="*/ 312 h 157879"/>
                    <a:gd name="connsiteX4" fmla="*/ 0 w 297028"/>
                    <a:gd name="connsiteY4" fmla="*/ 7918 h 157879"/>
                    <a:gd name="connsiteX5" fmla="*/ 49544 w 297028"/>
                    <a:gd name="connsiteY5" fmla="*/ 18101 h 157879"/>
                    <a:gd name="connsiteX6" fmla="*/ 296764 w 297028"/>
                    <a:gd name="connsiteY6" fmla="*/ 157880 h 157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97028" h="157879">
                      <a:moveTo>
                        <a:pt x="296764" y="157880"/>
                      </a:moveTo>
                      <a:cubicBezTo>
                        <a:pt x="296764" y="155095"/>
                        <a:pt x="296764" y="152560"/>
                        <a:pt x="297014" y="150357"/>
                      </a:cubicBezTo>
                      <a:cubicBezTo>
                        <a:pt x="297246" y="144164"/>
                        <a:pt x="294699" y="138187"/>
                        <a:pt x="290073" y="134064"/>
                      </a:cubicBezTo>
                      <a:cubicBezTo>
                        <a:pt x="263015" y="109749"/>
                        <a:pt x="161558" y="26331"/>
                        <a:pt x="18163" y="312"/>
                      </a:cubicBezTo>
                      <a:cubicBezTo>
                        <a:pt x="11131" y="-1018"/>
                        <a:pt x="3986" y="1975"/>
                        <a:pt x="0" y="7918"/>
                      </a:cubicBezTo>
                      <a:cubicBezTo>
                        <a:pt x="16725" y="10200"/>
                        <a:pt x="33276" y="13600"/>
                        <a:pt x="49544" y="18101"/>
                      </a:cubicBezTo>
                      <a:cubicBezTo>
                        <a:pt x="120410" y="36722"/>
                        <a:pt x="223488" y="86266"/>
                        <a:pt x="296764" y="157880"/>
                      </a:cubicBezTo>
                      <a:close/>
                    </a:path>
                  </a:pathLst>
                </a:custGeom>
                <a:solidFill>
                  <a:schemeClr val="accent6">
                    <a:lumMod val="50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28" name="Freeform: Shape 1527">
                  <a:extLst>
                    <a:ext uri="{FF2B5EF4-FFF2-40B4-BE49-F238E27FC236}">
                      <a16:creationId xmlns:a16="http://schemas.microsoft.com/office/drawing/2014/main" id="{D669B600-7BCB-4004-9998-A42E6809EA15}"/>
                    </a:ext>
                  </a:extLst>
                </p:cNvPr>
                <p:cNvSpPr/>
                <p:nvPr/>
              </p:nvSpPr>
              <p:spPr>
                <a:xfrm>
                  <a:off x="3880471" y="1349612"/>
                  <a:ext cx="299860" cy="248700"/>
                </a:xfrm>
                <a:custGeom>
                  <a:avLst/>
                  <a:gdLst>
                    <a:gd name="connsiteX0" fmla="*/ 52765 w 299860"/>
                    <a:gd name="connsiteY0" fmla="*/ 10183 h 248700"/>
                    <a:gd name="connsiteX1" fmla="*/ 3221 w 299860"/>
                    <a:gd name="connsiteY1" fmla="*/ 0 h 248700"/>
                    <a:gd name="connsiteX2" fmla="*/ 2764 w 299860"/>
                    <a:gd name="connsiteY2" fmla="*/ 19909 h 248700"/>
                    <a:gd name="connsiteX3" fmla="*/ 11451 w 299860"/>
                    <a:gd name="connsiteY3" fmla="*/ 32170 h 248700"/>
                    <a:gd name="connsiteX4" fmla="*/ 215113 w 299860"/>
                    <a:gd name="connsiteY4" fmla="*/ 246348 h 248700"/>
                    <a:gd name="connsiteX5" fmla="*/ 290260 w 299860"/>
                    <a:gd name="connsiteY5" fmla="*/ 243147 h 248700"/>
                    <a:gd name="connsiteX6" fmla="*/ 299861 w 299860"/>
                    <a:gd name="connsiteY6" fmla="*/ 149962 h 248700"/>
                    <a:gd name="connsiteX7" fmla="*/ 52765 w 299860"/>
                    <a:gd name="connsiteY7" fmla="*/ 10183 h 248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9860" h="248700">
                      <a:moveTo>
                        <a:pt x="52765" y="10183"/>
                      </a:moveTo>
                      <a:cubicBezTo>
                        <a:pt x="36497" y="5682"/>
                        <a:pt x="19947" y="2282"/>
                        <a:pt x="3221" y="0"/>
                      </a:cubicBezTo>
                      <a:cubicBezTo>
                        <a:pt x="-902" y="5948"/>
                        <a:pt x="-1081" y="13778"/>
                        <a:pt x="2764" y="19909"/>
                      </a:cubicBezTo>
                      <a:cubicBezTo>
                        <a:pt x="5403" y="24173"/>
                        <a:pt x="8305" y="28267"/>
                        <a:pt x="11451" y="32170"/>
                      </a:cubicBezTo>
                      <a:cubicBezTo>
                        <a:pt x="33895" y="60267"/>
                        <a:pt x="215113" y="246348"/>
                        <a:pt x="215113" y="246348"/>
                      </a:cubicBezTo>
                      <a:cubicBezTo>
                        <a:pt x="215113" y="246348"/>
                        <a:pt x="272678" y="253372"/>
                        <a:pt x="290260" y="243147"/>
                      </a:cubicBezTo>
                      <a:cubicBezTo>
                        <a:pt x="295954" y="239864"/>
                        <a:pt x="298572" y="180095"/>
                        <a:pt x="299861" y="149962"/>
                      </a:cubicBezTo>
                      <a:cubicBezTo>
                        <a:pt x="226709" y="78347"/>
                        <a:pt x="123631" y="28804"/>
                        <a:pt x="52765" y="10183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29" name="Freeform: Shape 1528">
                  <a:extLst>
                    <a:ext uri="{FF2B5EF4-FFF2-40B4-BE49-F238E27FC236}">
                      <a16:creationId xmlns:a16="http://schemas.microsoft.com/office/drawing/2014/main" id="{D73AEC30-097C-4C43-A5C8-C04B575E78BD}"/>
                    </a:ext>
                  </a:extLst>
                </p:cNvPr>
                <p:cNvSpPr/>
                <p:nvPr/>
              </p:nvSpPr>
              <p:spPr>
                <a:xfrm>
                  <a:off x="4076630" y="1555975"/>
                  <a:ext cx="97052" cy="136828"/>
                </a:xfrm>
                <a:custGeom>
                  <a:avLst/>
                  <a:gdLst>
                    <a:gd name="connsiteX0" fmla="*/ 97051 w 97052"/>
                    <a:gd name="connsiteY0" fmla="*/ 136828 h 136828"/>
                    <a:gd name="connsiteX1" fmla="*/ 97051 w 97052"/>
                    <a:gd name="connsiteY1" fmla="*/ 26020 h 136828"/>
                    <a:gd name="connsiteX2" fmla="*/ 82171 w 97052"/>
                    <a:gd name="connsiteY2" fmla="*/ 5238 h 136828"/>
                    <a:gd name="connsiteX3" fmla="*/ 28138 w 97052"/>
                    <a:gd name="connsiteY3" fmla="*/ 3908 h 136828"/>
                    <a:gd name="connsiteX4" fmla="*/ 8313 w 97052"/>
                    <a:gd name="connsiteY4" fmla="*/ 30841 h 136828"/>
                    <a:gd name="connsiteX5" fmla="*/ 0 w 97052"/>
                    <a:gd name="connsiteY5" fmla="*/ 134335 h 1368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7052" h="136828">
                      <a:moveTo>
                        <a:pt x="97051" y="136828"/>
                      </a:moveTo>
                      <a:lnTo>
                        <a:pt x="97051" y="26020"/>
                      </a:lnTo>
                      <a:cubicBezTo>
                        <a:pt x="97142" y="16593"/>
                        <a:pt x="91128" y="8189"/>
                        <a:pt x="82171" y="5238"/>
                      </a:cubicBezTo>
                      <a:cubicBezTo>
                        <a:pt x="68414" y="832"/>
                        <a:pt x="47258" y="-3283"/>
                        <a:pt x="28138" y="3908"/>
                      </a:cubicBezTo>
                      <a:cubicBezTo>
                        <a:pt x="16871" y="8289"/>
                        <a:pt x="9148" y="18784"/>
                        <a:pt x="8313" y="30841"/>
                      </a:cubicBezTo>
                      <a:lnTo>
                        <a:pt x="0" y="134335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30" name="Freeform: Shape 1529">
                  <a:extLst>
                    <a:ext uri="{FF2B5EF4-FFF2-40B4-BE49-F238E27FC236}">
                      <a16:creationId xmlns:a16="http://schemas.microsoft.com/office/drawing/2014/main" id="{E5A77062-5F0D-481E-9CBE-E802E0DFF32E}"/>
                    </a:ext>
                  </a:extLst>
                </p:cNvPr>
                <p:cNvSpPr/>
                <p:nvPr/>
              </p:nvSpPr>
              <p:spPr>
                <a:xfrm>
                  <a:off x="3397522" y="1583948"/>
                  <a:ext cx="353831" cy="168626"/>
                </a:xfrm>
                <a:custGeom>
                  <a:avLst/>
                  <a:gdLst>
                    <a:gd name="connsiteX0" fmla="*/ 336541 w 353831"/>
                    <a:gd name="connsiteY0" fmla="*/ 10723 h 168626"/>
                    <a:gd name="connsiteX1" fmla="*/ 329392 w 353831"/>
                    <a:gd name="connsiteY1" fmla="*/ 0 h 168626"/>
                    <a:gd name="connsiteX2" fmla="*/ 158441 w 353831"/>
                    <a:gd name="connsiteY2" fmla="*/ 52453 h 168626"/>
                    <a:gd name="connsiteX3" fmla="*/ 0 w 353831"/>
                    <a:gd name="connsiteY3" fmla="*/ 147509 h 168626"/>
                    <a:gd name="connsiteX4" fmla="*/ 322077 w 353831"/>
                    <a:gd name="connsiteY4" fmla="*/ 152622 h 168626"/>
                    <a:gd name="connsiteX5" fmla="*/ 353831 w 353831"/>
                    <a:gd name="connsiteY5" fmla="*/ 137742 h 168626"/>
                    <a:gd name="connsiteX6" fmla="*/ 336541 w 353831"/>
                    <a:gd name="connsiteY6" fmla="*/ 10723 h 168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3831" h="168626">
                      <a:moveTo>
                        <a:pt x="336541" y="10723"/>
                      </a:moveTo>
                      <a:cubicBezTo>
                        <a:pt x="335261" y="6526"/>
                        <a:pt x="332775" y="2797"/>
                        <a:pt x="329392" y="0"/>
                      </a:cubicBezTo>
                      <a:cubicBezTo>
                        <a:pt x="306116" y="4572"/>
                        <a:pt x="257695" y="17415"/>
                        <a:pt x="158441" y="52453"/>
                      </a:cubicBezTo>
                      <a:cubicBezTo>
                        <a:pt x="43392" y="93061"/>
                        <a:pt x="9684" y="128556"/>
                        <a:pt x="0" y="147509"/>
                      </a:cubicBezTo>
                      <a:cubicBezTo>
                        <a:pt x="49294" y="161974"/>
                        <a:pt x="161350" y="184044"/>
                        <a:pt x="322077" y="152622"/>
                      </a:cubicBezTo>
                      <a:lnTo>
                        <a:pt x="353831" y="137742"/>
                      </a:lnTo>
                      <a:cubicBezTo>
                        <a:pt x="353831" y="137742"/>
                        <a:pt x="351587" y="60309"/>
                        <a:pt x="336541" y="10723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31" name="Freeform: Shape 1530">
                  <a:extLst>
                    <a:ext uri="{FF2B5EF4-FFF2-40B4-BE49-F238E27FC236}">
                      <a16:creationId xmlns:a16="http://schemas.microsoft.com/office/drawing/2014/main" id="{692CC167-59AA-4AD9-A7C4-C07EEC17EE95}"/>
                    </a:ext>
                  </a:extLst>
                </p:cNvPr>
                <p:cNvSpPr/>
                <p:nvPr/>
              </p:nvSpPr>
              <p:spPr>
                <a:xfrm>
                  <a:off x="3382460" y="1578701"/>
                  <a:ext cx="344454" cy="152756"/>
                </a:xfrm>
                <a:custGeom>
                  <a:avLst/>
                  <a:gdLst>
                    <a:gd name="connsiteX0" fmla="*/ 173503 w 344454"/>
                    <a:gd name="connsiteY0" fmla="*/ 57700 h 152756"/>
                    <a:gd name="connsiteX1" fmla="*/ 344454 w 344454"/>
                    <a:gd name="connsiteY1" fmla="*/ 5247 h 152756"/>
                    <a:gd name="connsiteX2" fmla="*/ 325460 w 344454"/>
                    <a:gd name="connsiteY2" fmla="*/ 467 h 152756"/>
                    <a:gd name="connsiteX3" fmla="*/ 5420 w 344454"/>
                    <a:gd name="connsiteY3" fmla="*/ 126155 h 152756"/>
                    <a:gd name="connsiteX4" fmla="*/ 3200 w 344454"/>
                    <a:gd name="connsiteY4" fmla="*/ 146551 h 152756"/>
                    <a:gd name="connsiteX5" fmla="*/ 10158 w 344454"/>
                    <a:gd name="connsiteY5" fmla="*/ 151301 h 152756"/>
                    <a:gd name="connsiteX6" fmla="*/ 15062 w 344454"/>
                    <a:gd name="connsiteY6" fmla="*/ 152756 h 152756"/>
                    <a:gd name="connsiteX7" fmla="*/ 173503 w 344454"/>
                    <a:gd name="connsiteY7" fmla="*/ 57700 h 152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4454" h="152756">
                      <a:moveTo>
                        <a:pt x="173503" y="57700"/>
                      </a:moveTo>
                      <a:cubicBezTo>
                        <a:pt x="272757" y="22662"/>
                        <a:pt x="321178" y="9819"/>
                        <a:pt x="344454" y="5247"/>
                      </a:cubicBezTo>
                      <a:cubicBezTo>
                        <a:pt x="339184" y="833"/>
                        <a:pt x="332189" y="-925"/>
                        <a:pt x="325460" y="467"/>
                      </a:cubicBezTo>
                      <a:cubicBezTo>
                        <a:pt x="268310" y="12354"/>
                        <a:pt x="95654" y="53003"/>
                        <a:pt x="5420" y="126155"/>
                      </a:cubicBezTo>
                      <a:cubicBezTo>
                        <a:pt x="-823" y="131172"/>
                        <a:pt x="-1821" y="140304"/>
                        <a:pt x="3200" y="146551"/>
                      </a:cubicBezTo>
                      <a:cubicBezTo>
                        <a:pt x="4996" y="148787"/>
                        <a:pt x="7419" y="150441"/>
                        <a:pt x="10158" y="151301"/>
                      </a:cubicBezTo>
                      <a:lnTo>
                        <a:pt x="15062" y="152756"/>
                      </a:lnTo>
                      <a:cubicBezTo>
                        <a:pt x="24747" y="133720"/>
                        <a:pt x="58455" y="98308"/>
                        <a:pt x="173503" y="57700"/>
                      </a:cubicBezTo>
                      <a:close/>
                    </a:path>
                  </a:pathLst>
                </a:custGeom>
                <a:solidFill>
                  <a:schemeClr val="accent6">
                    <a:lumMod val="50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32" name="Freeform: Shape 1531">
                  <a:extLst>
                    <a:ext uri="{FF2B5EF4-FFF2-40B4-BE49-F238E27FC236}">
                      <a16:creationId xmlns:a16="http://schemas.microsoft.com/office/drawing/2014/main" id="{6DD5139A-E7B3-4928-8DD0-C507FF83679B}"/>
                    </a:ext>
                  </a:extLst>
                </p:cNvPr>
                <p:cNvSpPr/>
                <p:nvPr/>
              </p:nvSpPr>
              <p:spPr>
                <a:xfrm>
                  <a:off x="3671040" y="1698486"/>
                  <a:ext cx="139790" cy="148684"/>
                </a:xfrm>
                <a:custGeom>
                  <a:avLst/>
                  <a:gdLst>
                    <a:gd name="connsiteX0" fmla="*/ 139790 w 139790"/>
                    <a:gd name="connsiteY0" fmla="*/ 90122 h 148684"/>
                    <a:gd name="connsiteX1" fmla="*/ 72166 w 139790"/>
                    <a:gd name="connsiteY1" fmla="*/ 9072 h 148684"/>
                    <a:gd name="connsiteX2" fmla="*/ 45108 w 139790"/>
                    <a:gd name="connsiteY2" fmla="*/ 1259 h 148684"/>
                    <a:gd name="connsiteX3" fmla="*/ 5955 w 139790"/>
                    <a:gd name="connsiteY3" fmla="*/ 27277 h 148684"/>
                    <a:gd name="connsiteX4" fmla="*/ 2589 w 139790"/>
                    <a:gd name="connsiteY4" fmla="*/ 53338 h 148684"/>
                    <a:gd name="connsiteX5" fmla="*/ 51800 w 139790"/>
                    <a:gd name="connsiteY5" fmla="*/ 148685 h 1486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9790" h="148684">
                      <a:moveTo>
                        <a:pt x="139790" y="90122"/>
                      </a:moveTo>
                      <a:lnTo>
                        <a:pt x="72166" y="9072"/>
                      </a:lnTo>
                      <a:cubicBezTo>
                        <a:pt x="65620" y="1138"/>
                        <a:pt x="54876" y="-1967"/>
                        <a:pt x="45108" y="1259"/>
                      </a:cubicBezTo>
                      <a:cubicBezTo>
                        <a:pt x="30037" y="6421"/>
                        <a:pt x="16554" y="15382"/>
                        <a:pt x="5955" y="27277"/>
                      </a:cubicBezTo>
                      <a:cubicBezTo>
                        <a:pt x="-499" y="34410"/>
                        <a:pt x="-1842" y="44801"/>
                        <a:pt x="2589" y="53338"/>
                      </a:cubicBezTo>
                      <a:lnTo>
                        <a:pt x="51800" y="148685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33" name="Freeform: Shape 1532">
                  <a:extLst>
                    <a:ext uri="{FF2B5EF4-FFF2-40B4-BE49-F238E27FC236}">
                      <a16:creationId xmlns:a16="http://schemas.microsoft.com/office/drawing/2014/main" id="{44FC997F-7529-4208-913B-016CE8068642}"/>
                    </a:ext>
                  </a:extLst>
                </p:cNvPr>
                <p:cNvSpPr/>
                <p:nvPr/>
              </p:nvSpPr>
              <p:spPr>
                <a:xfrm>
                  <a:off x="4059392" y="1647194"/>
                  <a:ext cx="181679" cy="521970"/>
                </a:xfrm>
                <a:custGeom>
                  <a:avLst/>
                  <a:gdLst>
                    <a:gd name="connsiteX0" fmla="*/ 2275 w 181679"/>
                    <a:gd name="connsiteY0" fmla="*/ 7038 h 521970"/>
                    <a:gd name="connsiteX1" fmla="*/ 130582 w 181679"/>
                    <a:gd name="connsiteY1" fmla="*/ 7038 h 521970"/>
                    <a:gd name="connsiteX2" fmla="*/ 180459 w 181679"/>
                    <a:gd name="connsiteY2" fmla="*/ 485726 h 521970"/>
                    <a:gd name="connsiteX3" fmla="*/ 2192 w 181679"/>
                    <a:gd name="connsiteY3" fmla="*/ 521970 h 521970"/>
                    <a:gd name="connsiteX4" fmla="*/ 2275 w 181679"/>
                    <a:gd name="connsiteY4" fmla="*/ 7038 h 5219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679" h="521970">
                      <a:moveTo>
                        <a:pt x="2275" y="7038"/>
                      </a:moveTo>
                      <a:cubicBezTo>
                        <a:pt x="2275" y="7038"/>
                        <a:pt x="84779" y="-8798"/>
                        <a:pt x="130582" y="7038"/>
                      </a:cubicBezTo>
                      <a:cubicBezTo>
                        <a:pt x="130582" y="7038"/>
                        <a:pt x="190933" y="369265"/>
                        <a:pt x="180459" y="485726"/>
                      </a:cubicBezTo>
                      <a:lnTo>
                        <a:pt x="2192" y="521970"/>
                      </a:lnTo>
                      <a:cubicBezTo>
                        <a:pt x="2192" y="521970"/>
                        <a:pt x="-2795" y="113857"/>
                        <a:pt x="2275" y="7038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534" name="Freeform: Shape 1533">
                  <a:extLst>
                    <a:ext uri="{FF2B5EF4-FFF2-40B4-BE49-F238E27FC236}">
                      <a16:creationId xmlns:a16="http://schemas.microsoft.com/office/drawing/2014/main" id="{37ADD39F-8885-4292-A3D3-0E33669AB86D}"/>
                    </a:ext>
                  </a:extLst>
                </p:cNvPr>
                <p:cNvSpPr/>
                <p:nvPr/>
              </p:nvSpPr>
              <p:spPr>
                <a:xfrm>
                  <a:off x="3703555" y="1775141"/>
                  <a:ext cx="1089881" cy="534709"/>
                </a:xfrm>
                <a:custGeom>
                  <a:avLst/>
                  <a:gdLst>
                    <a:gd name="connsiteX0" fmla="*/ 1089882 w 1089881"/>
                    <a:gd name="connsiteY0" fmla="*/ 513727 h 534709"/>
                    <a:gd name="connsiteX1" fmla="*/ 270164 w 1089881"/>
                    <a:gd name="connsiteY1" fmla="*/ 530144 h 534709"/>
                    <a:gd name="connsiteX2" fmla="*/ 216131 w 1089881"/>
                    <a:gd name="connsiteY2" fmla="*/ 494025 h 534709"/>
                    <a:gd name="connsiteX3" fmla="*/ 0 w 1089881"/>
                    <a:gd name="connsiteY3" fmla="*/ 58729 h 534709"/>
                    <a:gd name="connsiteX4" fmla="*/ 107400 w 1089881"/>
                    <a:gd name="connsiteY4" fmla="*/ 0 h 534709"/>
                    <a:gd name="connsiteX5" fmla="*/ 332384 w 1089881"/>
                    <a:gd name="connsiteY5" fmla="*/ 362809 h 534709"/>
                    <a:gd name="connsiteX6" fmla="*/ 881856 w 1089881"/>
                    <a:gd name="connsiteY6" fmla="*/ 220329 h 534709"/>
                    <a:gd name="connsiteX7" fmla="*/ 1082733 w 1089881"/>
                    <a:gd name="connsiteY7" fmla="*/ 289283 h 534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89881" h="534709">
                      <a:moveTo>
                        <a:pt x="1089882" y="513727"/>
                      </a:moveTo>
                      <a:cubicBezTo>
                        <a:pt x="1089882" y="513727"/>
                        <a:pt x="506785" y="546479"/>
                        <a:pt x="270164" y="530144"/>
                      </a:cubicBezTo>
                      <a:cubicBezTo>
                        <a:pt x="247033" y="528511"/>
                        <a:pt x="226484" y="514774"/>
                        <a:pt x="216131" y="494025"/>
                      </a:cubicBezTo>
                      <a:cubicBezTo>
                        <a:pt x="165382" y="392486"/>
                        <a:pt x="13300" y="87824"/>
                        <a:pt x="0" y="58729"/>
                      </a:cubicBezTo>
                      <a:cubicBezTo>
                        <a:pt x="0" y="58729"/>
                        <a:pt x="61764" y="7107"/>
                        <a:pt x="107400" y="0"/>
                      </a:cubicBezTo>
                      <a:cubicBezTo>
                        <a:pt x="107400" y="0"/>
                        <a:pt x="323323" y="240238"/>
                        <a:pt x="332384" y="362809"/>
                      </a:cubicBezTo>
                      <a:cubicBezTo>
                        <a:pt x="332384" y="362809"/>
                        <a:pt x="832478" y="218957"/>
                        <a:pt x="881856" y="220329"/>
                      </a:cubicBezTo>
                      <a:cubicBezTo>
                        <a:pt x="931233" y="221700"/>
                        <a:pt x="1082733" y="289283"/>
                        <a:pt x="1082733" y="289283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17" name="Freeform: Shape 1616">
                  <a:extLst>
                    <a:ext uri="{FF2B5EF4-FFF2-40B4-BE49-F238E27FC236}">
                      <a16:creationId xmlns:a16="http://schemas.microsoft.com/office/drawing/2014/main" id="{69F3F583-BDFB-4F6C-BEFC-4AD4EC0E7873}"/>
                    </a:ext>
                  </a:extLst>
                </p:cNvPr>
                <p:cNvSpPr/>
                <p:nvPr/>
              </p:nvSpPr>
              <p:spPr>
                <a:xfrm>
                  <a:off x="5560225" y="1620150"/>
                  <a:ext cx="128367" cy="224804"/>
                </a:xfrm>
                <a:custGeom>
                  <a:avLst/>
                  <a:gdLst>
                    <a:gd name="connsiteX0" fmla="*/ 10410 w 128367"/>
                    <a:gd name="connsiteY0" fmla="*/ 214261 h 224804"/>
                    <a:gd name="connsiteX1" fmla="*/ 7584 w 128367"/>
                    <a:gd name="connsiteY1" fmla="*/ 146304 h 224804"/>
                    <a:gd name="connsiteX2" fmla="*/ 93121 w 128367"/>
                    <a:gd name="connsiteY2" fmla="*/ 50209 h 224804"/>
                    <a:gd name="connsiteX3" fmla="*/ 100894 w 128367"/>
                    <a:gd name="connsiteY3" fmla="*/ 0 h 224804"/>
                    <a:gd name="connsiteX4" fmla="*/ 128367 w 128367"/>
                    <a:gd name="connsiteY4" fmla="*/ 81756 h 224804"/>
                    <a:gd name="connsiteX5" fmla="*/ 69389 w 128367"/>
                    <a:gd name="connsiteY5" fmla="*/ 205117 h 224804"/>
                    <a:gd name="connsiteX6" fmla="*/ 10410 w 128367"/>
                    <a:gd name="connsiteY6" fmla="*/ 214261 h 224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8367" h="224804">
                      <a:moveTo>
                        <a:pt x="10410" y="214261"/>
                      </a:moveTo>
                      <a:cubicBezTo>
                        <a:pt x="10410" y="214261"/>
                        <a:pt x="-10996" y="169787"/>
                        <a:pt x="7584" y="146304"/>
                      </a:cubicBezTo>
                      <a:cubicBezTo>
                        <a:pt x="26162" y="122821"/>
                        <a:pt x="93121" y="50209"/>
                        <a:pt x="93121" y="50209"/>
                      </a:cubicBezTo>
                      <a:lnTo>
                        <a:pt x="100894" y="0"/>
                      </a:lnTo>
                      <a:lnTo>
                        <a:pt x="128367" y="81756"/>
                      </a:lnTo>
                      <a:lnTo>
                        <a:pt x="69389" y="205117"/>
                      </a:lnTo>
                      <a:cubicBezTo>
                        <a:pt x="69389" y="205117"/>
                        <a:pt x="34932" y="242482"/>
                        <a:pt x="10410" y="214261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18" name="Freeform: Shape 1617">
                  <a:extLst>
                    <a:ext uri="{FF2B5EF4-FFF2-40B4-BE49-F238E27FC236}">
                      <a16:creationId xmlns:a16="http://schemas.microsoft.com/office/drawing/2014/main" id="{69C8A355-DC9B-4A8A-BBEE-7BF669014E9B}"/>
                    </a:ext>
                  </a:extLst>
                </p:cNvPr>
                <p:cNvSpPr/>
                <p:nvPr/>
              </p:nvSpPr>
              <p:spPr>
                <a:xfrm>
                  <a:off x="5570635" y="1825183"/>
                  <a:ext cx="149837" cy="225492"/>
                </a:xfrm>
                <a:custGeom>
                  <a:avLst/>
                  <a:gdLst>
                    <a:gd name="connsiteX0" fmla="*/ 149837 w 149837"/>
                    <a:gd name="connsiteY0" fmla="*/ 216131 h 225492"/>
                    <a:gd name="connsiteX1" fmla="*/ 58896 w 149837"/>
                    <a:gd name="connsiteY1" fmla="*/ 0 h 225492"/>
                    <a:gd name="connsiteX2" fmla="*/ 0 w 149837"/>
                    <a:gd name="connsiteY2" fmla="*/ 9144 h 225492"/>
                    <a:gd name="connsiteX3" fmla="*/ 29095 w 149837"/>
                    <a:gd name="connsiteY3" fmla="*/ 213263 h 225492"/>
                    <a:gd name="connsiteX4" fmla="*/ 149837 w 149837"/>
                    <a:gd name="connsiteY4" fmla="*/ 216131 h 225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9837" h="225492">
                      <a:moveTo>
                        <a:pt x="149837" y="216131"/>
                      </a:moveTo>
                      <a:cubicBezTo>
                        <a:pt x="128722" y="140552"/>
                        <a:pt x="98173" y="67936"/>
                        <a:pt x="58896" y="0"/>
                      </a:cubicBezTo>
                      <a:lnTo>
                        <a:pt x="0" y="9144"/>
                      </a:lnTo>
                      <a:lnTo>
                        <a:pt x="29095" y="213263"/>
                      </a:lnTo>
                      <a:cubicBezTo>
                        <a:pt x="51289" y="220079"/>
                        <a:pt x="111806" y="235375"/>
                        <a:pt x="149837" y="216131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19" name="Freeform: Shape 1618">
                  <a:extLst>
                    <a:ext uri="{FF2B5EF4-FFF2-40B4-BE49-F238E27FC236}">
                      <a16:creationId xmlns:a16="http://schemas.microsoft.com/office/drawing/2014/main" id="{D3C6685E-5647-49B0-AC35-681A5AD7DB49}"/>
                    </a:ext>
                  </a:extLst>
                </p:cNvPr>
                <p:cNvSpPr/>
                <p:nvPr/>
              </p:nvSpPr>
              <p:spPr>
                <a:xfrm>
                  <a:off x="4722105" y="1710917"/>
                  <a:ext cx="1036776" cy="583021"/>
                </a:xfrm>
                <a:custGeom>
                  <a:avLst/>
                  <a:gdLst>
                    <a:gd name="connsiteX0" fmla="*/ 1036481 w 1036776"/>
                    <a:gd name="connsiteY0" fmla="*/ 529363 h 583021"/>
                    <a:gd name="connsiteX1" fmla="*/ 998367 w 1036776"/>
                    <a:gd name="connsiteY1" fmla="*/ 330606 h 583021"/>
                    <a:gd name="connsiteX2" fmla="*/ 877583 w 1036776"/>
                    <a:gd name="connsiteY2" fmla="*/ 327821 h 583021"/>
                    <a:gd name="connsiteX3" fmla="*/ 885896 w 1036776"/>
                    <a:gd name="connsiteY3" fmla="*/ 386425 h 583021"/>
                    <a:gd name="connsiteX4" fmla="*/ 863576 w 1036776"/>
                    <a:gd name="connsiteY4" fmla="*/ 307455 h 583021"/>
                    <a:gd name="connsiteX5" fmla="*/ 699150 w 1036776"/>
                    <a:gd name="connsiteY5" fmla="*/ 66718 h 583021"/>
                    <a:gd name="connsiteX6" fmla="*/ 643704 w 1036776"/>
                    <a:gd name="connsiteY6" fmla="*/ 24780 h 583021"/>
                    <a:gd name="connsiteX7" fmla="*/ 446651 w 1036776"/>
                    <a:gd name="connsiteY7" fmla="*/ 37540 h 583021"/>
                    <a:gd name="connsiteX8" fmla="*/ 77732 w 1036776"/>
                    <a:gd name="connsiteY8" fmla="*/ 324330 h 583021"/>
                    <a:gd name="connsiteX9" fmla="*/ 30059 w 1036776"/>
                    <a:gd name="connsiteY9" fmla="*/ 330689 h 583021"/>
                    <a:gd name="connsiteX10" fmla="*/ 19626 w 1036776"/>
                    <a:gd name="connsiteY10" fmla="*/ 326075 h 583021"/>
                    <a:gd name="connsiteX11" fmla="*/ 1222 w 1036776"/>
                    <a:gd name="connsiteY11" fmla="*/ 333074 h 583021"/>
                    <a:gd name="connsiteX12" fmla="*/ 91 w 1036776"/>
                    <a:gd name="connsiteY12" fmla="*/ 340373 h 583021"/>
                    <a:gd name="connsiteX13" fmla="*/ 26609 w 1036776"/>
                    <a:gd name="connsiteY13" fmla="*/ 583021 h 583021"/>
                    <a:gd name="connsiteX14" fmla="*/ 450309 w 1036776"/>
                    <a:gd name="connsiteY14" fmla="*/ 578117 h 583021"/>
                    <a:gd name="connsiteX15" fmla="*/ 671719 w 1036776"/>
                    <a:gd name="connsiteY15" fmla="*/ 527783 h 583021"/>
                    <a:gd name="connsiteX16" fmla="*/ 710871 w 1036776"/>
                    <a:gd name="connsiteY16" fmla="*/ 431647 h 583021"/>
                    <a:gd name="connsiteX17" fmla="*/ 983570 w 1036776"/>
                    <a:gd name="connsiteY17" fmla="*/ 578990 h 583021"/>
                    <a:gd name="connsiteX18" fmla="*/ 1036481 w 1036776"/>
                    <a:gd name="connsiteY18" fmla="*/ 529363 h 583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36776" h="583021">
                      <a:moveTo>
                        <a:pt x="1036481" y="529363"/>
                      </a:moveTo>
                      <a:cubicBezTo>
                        <a:pt x="1029332" y="462163"/>
                        <a:pt x="1016614" y="395678"/>
                        <a:pt x="998367" y="330606"/>
                      </a:cubicBezTo>
                      <a:cubicBezTo>
                        <a:pt x="960461" y="349850"/>
                        <a:pt x="899819" y="334554"/>
                        <a:pt x="877583" y="327821"/>
                      </a:cubicBezTo>
                      <a:lnTo>
                        <a:pt x="885896" y="386425"/>
                      </a:lnTo>
                      <a:lnTo>
                        <a:pt x="863576" y="307455"/>
                      </a:lnTo>
                      <a:cubicBezTo>
                        <a:pt x="836435" y="211451"/>
                        <a:pt x="778703" y="126927"/>
                        <a:pt x="699150" y="66718"/>
                      </a:cubicBezTo>
                      <a:lnTo>
                        <a:pt x="643704" y="24780"/>
                      </a:lnTo>
                      <a:cubicBezTo>
                        <a:pt x="589256" y="-16409"/>
                        <a:pt x="502388" y="-2153"/>
                        <a:pt x="446651" y="37540"/>
                      </a:cubicBezTo>
                      <a:cubicBezTo>
                        <a:pt x="323332" y="125697"/>
                        <a:pt x="140244" y="273497"/>
                        <a:pt x="77732" y="324330"/>
                      </a:cubicBezTo>
                      <a:cubicBezTo>
                        <a:pt x="64299" y="335240"/>
                        <a:pt x="45882" y="337696"/>
                        <a:pt x="30059" y="330689"/>
                      </a:cubicBezTo>
                      <a:lnTo>
                        <a:pt x="19626" y="326075"/>
                      </a:lnTo>
                      <a:cubicBezTo>
                        <a:pt x="12610" y="322925"/>
                        <a:pt x="4373" y="326059"/>
                        <a:pt x="1222" y="333074"/>
                      </a:cubicBezTo>
                      <a:cubicBezTo>
                        <a:pt x="195" y="335360"/>
                        <a:pt x="-195" y="337883"/>
                        <a:pt x="91" y="340373"/>
                      </a:cubicBezTo>
                      <a:lnTo>
                        <a:pt x="26609" y="583021"/>
                      </a:lnTo>
                      <a:lnTo>
                        <a:pt x="450309" y="578117"/>
                      </a:lnTo>
                      <a:cubicBezTo>
                        <a:pt x="501100" y="578117"/>
                        <a:pt x="648277" y="572880"/>
                        <a:pt x="671719" y="527783"/>
                      </a:cubicBezTo>
                      <a:lnTo>
                        <a:pt x="710871" y="431647"/>
                      </a:lnTo>
                      <a:cubicBezTo>
                        <a:pt x="802685" y="509703"/>
                        <a:pt x="920477" y="563362"/>
                        <a:pt x="983570" y="578990"/>
                      </a:cubicBezTo>
                      <a:cubicBezTo>
                        <a:pt x="1012665" y="586014"/>
                        <a:pt x="1039931" y="560619"/>
                        <a:pt x="1036481" y="529363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0" name="Freeform: Shape 1619">
                  <a:extLst>
                    <a:ext uri="{FF2B5EF4-FFF2-40B4-BE49-F238E27FC236}">
                      <a16:creationId xmlns:a16="http://schemas.microsoft.com/office/drawing/2014/main" id="{1D7CAE7D-4798-4528-9E08-9E62FE51BF51}"/>
                    </a:ext>
                  </a:extLst>
                </p:cNvPr>
                <p:cNvSpPr/>
                <p:nvPr/>
              </p:nvSpPr>
              <p:spPr>
                <a:xfrm>
                  <a:off x="5323691" y="1605395"/>
                  <a:ext cx="208082" cy="232836"/>
                </a:xfrm>
                <a:custGeom>
                  <a:avLst/>
                  <a:gdLst>
                    <a:gd name="connsiteX0" fmla="*/ 137299 w 208082"/>
                    <a:gd name="connsiteY0" fmla="*/ 0 h 232836"/>
                    <a:gd name="connsiteX1" fmla="*/ 7080 w 208082"/>
                    <a:gd name="connsiteY1" fmla="*/ 126520 h 232836"/>
                    <a:gd name="connsiteX2" fmla="*/ 5335 w 208082"/>
                    <a:gd name="connsiteY2" fmla="*/ 157983 h 232836"/>
                    <a:gd name="connsiteX3" fmla="*/ 108662 w 208082"/>
                    <a:gd name="connsiteY3" fmla="*/ 232798 h 232836"/>
                    <a:gd name="connsiteX4" fmla="*/ 138879 w 208082"/>
                    <a:gd name="connsiteY4" fmla="*/ 216879 h 232836"/>
                    <a:gd name="connsiteX5" fmla="*/ 208082 w 208082"/>
                    <a:gd name="connsiteY5" fmla="*/ 107691 h 2328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8082" h="232836">
                      <a:moveTo>
                        <a:pt x="137299" y="0"/>
                      </a:moveTo>
                      <a:lnTo>
                        <a:pt x="7080" y="126520"/>
                      </a:lnTo>
                      <a:cubicBezTo>
                        <a:pt x="-1648" y="134941"/>
                        <a:pt x="-2396" y="148648"/>
                        <a:pt x="5335" y="157983"/>
                      </a:cubicBezTo>
                      <a:cubicBezTo>
                        <a:pt x="45527" y="205865"/>
                        <a:pt x="80149" y="230969"/>
                        <a:pt x="108662" y="232798"/>
                      </a:cubicBezTo>
                      <a:cubicBezTo>
                        <a:pt x="120882" y="233384"/>
                        <a:pt x="132437" y="227287"/>
                        <a:pt x="138879" y="216879"/>
                      </a:cubicBezTo>
                      <a:lnTo>
                        <a:pt x="208082" y="107691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1" name="Freeform: Shape 1620">
                  <a:extLst>
                    <a:ext uri="{FF2B5EF4-FFF2-40B4-BE49-F238E27FC236}">
                      <a16:creationId xmlns:a16="http://schemas.microsoft.com/office/drawing/2014/main" id="{579B73A6-D960-4521-AA9E-8DFD87B5DF8B}"/>
                    </a:ext>
                  </a:extLst>
                </p:cNvPr>
                <p:cNvSpPr/>
                <p:nvPr/>
              </p:nvSpPr>
              <p:spPr>
                <a:xfrm>
                  <a:off x="5723880" y="2185249"/>
                  <a:ext cx="242316" cy="104491"/>
                </a:xfrm>
                <a:custGeom>
                  <a:avLst/>
                  <a:gdLst>
                    <a:gd name="connsiteX0" fmla="*/ 0 w 242316"/>
                    <a:gd name="connsiteY0" fmla="*/ 43600 h 104491"/>
                    <a:gd name="connsiteX1" fmla="*/ 112056 w 242316"/>
                    <a:gd name="connsiteY1" fmla="*/ 0 h 104491"/>
                    <a:gd name="connsiteX2" fmla="*/ 242316 w 242316"/>
                    <a:gd name="connsiteY2" fmla="*/ 103618 h 104491"/>
                    <a:gd name="connsiteX3" fmla="*/ 9061 w 242316"/>
                    <a:gd name="connsiteY3" fmla="*/ 104491 h 104491"/>
                    <a:gd name="connsiteX4" fmla="*/ 0 w 242316"/>
                    <a:gd name="connsiteY4" fmla="*/ 43600 h 104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2316" h="104491">
                      <a:moveTo>
                        <a:pt x="0" y="43600"/>
                      </a:moveTo>
                      <a:lnTo>
                        <a:pt x="112056" y="0"/>
                      </a:lnTo>
                      <a:lnTo>
                        <a:pt x="242316" y="103618"/>
                      </a:lnTo>
                      <a:lnTo>
                        <a:pt x="9061" y="104491"/>
                      </a:lnTo>
                      <a:lnTo>
                        <a:pt x="0" y="43600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2" name="Freeform: Shape 1621">
                  <a:extLst>
                    <a:ext uri="{FF2B5EF4-FFF2-40B4-BE49-F238E27FC236}">
                      <a16:creationId xmlns:a16="http://schemas.microsoft.com/office/drawing/2014/main" id="{F7248C97-CF27-4794-87B9-507034256566}"/>
                    </a:ext>
                  </a:extLst>
                </p:cNvPr>
                <p:cNvSpPr/>
                <p:nvPr/>
              </p:nvSpPr>
              <p:spPr>
                <a:xfrm>
                  <a:off x="5440500" y="1493713"/>
                  <a:ext cx="238907" cy="262343"/>
                </a:xfrm>
                <a:custGeom>
                  <a:avLst/>
                  <a:gdLst>
                    <a:gd name="connsiteX0" fmla="*/ 238908 w 238907"/>
                    <a:gd name="connsiteY0" fmla="*/ 82421 h 262343"/>
                    <a:gd name="connsiteX1" fmla="*/ 173112 w 238907"/>
                    <a:gd name="connsiteY1" fmla="*/ 245849 h 262343"/>
                    <a:gd name="connsiteX2" fmla="*/ 0 w 238907"/>
                    <a:gd name="connsiteY2" fmla="*/ 161101 h 262343"/>
                    <a:gd name="connsiteX3" fmla="*/ 62927 w 238907"/>
                    <a:gd name="connsiteY3" fmla="*/ 0 h 262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8907" h="262343">
                      <a:moveTo>
                        <a:pt x="238908" y="82421"/>
                      </a:moveTo>
                      <a:cubicBezTo>
                        <a:pt x="238908" y="82421"/>
                        <a:pt x="221118" y="207403"/>
                        <a:pt x="173112" y="245849"/>
                      </a:cubicBezTo>
                      <a:cubicBezTo>
                        <a:pt x="125106" y="284295"/>
                        <a:pt x="31796" y="255325"/>
                        <a:pt x="0" y="161101"/>
                      </a:cubicBezTo>
                      <a:lnTo>
                        <a:pt x="62927" y="0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3" name="Freeform: Shape 1622">
                  <a:extLst>
                    <a:ext uri="{FF2B5EF4-FFF2-40B4-BE49-F238E27FC236}">
                      <a16:creationId xmlns:a16="http://schemas.microsoft.com/office/drawing/2014/main" id="{9EE34289-5369-4ABF-8245-7C0F033AF444}"/>
                    </a:ext>
                  </a:extLst>
                </p:cNvPr>
                <p:cNvSpPr/>
                <p:nvPr/>
              </p:nvSpPr>
              <p:spPr>
                <a:xfrm>
                  <a:off x="5370073" y="1388551"/>
                  <a:ext cx="388406" cy="276979"/>
                </a:xfrm>
                <a:custGeom>
                  <a:avLst/>
                  <a:gdLst>
                    <a:gd name="connsiteX0" fmla="*/ 126288 w 388406"/>
                    <a:gd name="connsiteY0" fmla="*/ 209404 h 276979"/>
                    <a:gd name="connsiteX1" fmla="*/ 134060 w 388406"/>
                    <a:gd name="connsiteY1" fmla="*/ 205501 h 276979"/>
                    <a:gd name="connsiteX2" fmla="*/ 134310 w 388406"/>
                    <a:gd name="connsiteY2" fmla="*/ 204458 h 276979"/>
                    <a:gd name="connsiteX3" fmla="*/ 149148 w 388406"/>
                    <a:gd name="connsiteY3" fmla="*/ 154581 h 276979"/>
                    <a:gd name="connsiteX4" fmla="*/ 190711 w 388406"/>
                    <a:gd name="connsiteY4" fmla="*/ 162894 h 276979"/>
                    <a:gd name="connsiteX5" fmla="*/ 346533 w 388406"/>
                    <a:gd name="connsiteY5" fmla="*/ 202380 h 276979"/>
                    <a:gd name="connsiteX6" fmla="*/ 321595 w 388406"/>
                    <a:gd name="connsiteY6" fmla="*/ 94605 h 276979"/>
                    <a:gd name="connsiteX7" fmla="*/ 314363 w 388406"/>
                    <a:gd name="connsiteY7" fmla="*/ 89796 h 276979"/>
                    <a:gd name="connsiteX8" fmla="*/ 314238 w 388406"/>
                    <a:gd name="connsiteY8" fmla="*/ 88163 h 276979"/>
                    <a:gd name="connsiteX9" fmla="*/ 273091 w 388406"/>
                    <a:gd name="connsiteY9" fmla="*/ 17505 h 276979"/>
                    <a:gd name="connsiteX10" fmla="*/ 205550 w 388406"/>
                    <a:gd name="connsiteY10" fmla="*/ 33008 h 276979"/>
                    <a:gd name="connsiteX11" fmla="*/ 196904 w 388406"/>
                    <a:gd name="connsiteY11" fmla="*/ 34010 h 276979"/>
                    <a:gd name="connsiteX12" fmla="*/ 195907 w 388406"/>
                    <a:gd name="connsiteY12" fmla="*/ 33008 h 276979"/>
                    <a:gd name="connsiteX13" fmla="*/ 107875 w 388406"/>
                    <a:gd name="connsiteY13" fmla="*/ 6490 h 276979"/>
                    <a:gd name="connsiteX14" fmla="*/ 65065 w 388406"/>
                    <a:gd name="connsiteY14" fmla="*/ 60523 h 276979"/>
                    <a:gd name="connsiteX15" fmla="*/ 59204 w 388406"/>
                    <a:gd name="connsiteY15" fmla="*/ 66965 h 276979"/>
                    <a:gd name="connsiteX16" fmla="*/ 56295 w 388406"/>
                    <a:gd name="connsiteY16" fmla="*/ 66383 h 276979"/>
                    <a:gd name="connsiteX17" fmla="*/ 8538 w 388406"/>
                    <a:gd name="connsiteY17" fmla="*/ 80557 h 276979"/>
                    <a:gd name="connsiteX18" fmla="*/ 29569 w 388406"/>
                    <a:gd name="connsiteY18" fmla="*/ 144897 h 276979"/>
                    <a:gd name="connsiteX19" fmla="*/ 32354 w 388406"/>
                    <a:gd name="connsiteY19" fmla="*/ 150010 h 276979"/>
                    <a:gd name="connsiteX20" fmla="*/ 69761 w 388406"/>
                    <a:gd name="connsiteY20" fmla="*/ 274950 h 276979"/>
                    <a:gd name="connsiteX21" fmla="*/ 78573 w 388406"/>
                    <a:gd name="connsiteY21" fmla="*/ 275349 h 276979"/>
                    <a:gd name="connsiteX22" fmla="*/ 80111 w 388406"/>
                    <a:gd name="connsiteY22" fmla="*/ 273163 h 276979"/>
                    <a:gd name="connsiteX23" fmla="*/ 107002 w 388406"/>
                    <a:gd name="connsiteY23" fmla="*/ 209113 h 276979"/>
                    <a:gd name="connsiteX24" fmla="*/ 114650 w 388406"/>
                    <a:gd name="connsiteY24" fmla="*/ 205580 h 276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88406" h="276979">
                      <a:moveTo>
                        <a:pt x="126288" y="209404"/>
                      </a:moveTo>
                      <a:cubicBezTo>
                        <a:pt x="129530" y="210472"/>
                        <a:pt x="132979" y="208726"/>
                        <a:pt x="134060" y="205501"/>
                      </a:cubicBezTo>
                      <a:cubicBezTo>
                        <a:pt x="134185" y="205160"/>
                        <a:pt x="134268" y="204811"/>
                        <a:pt x="134310" y="204458"/>
                      </a:cubicBezTo>
                      <a:cubicBezTo>
                        <a:pt x="136055" y="192945"/>
                        <a:pt x="140378" y="170085"/>
                        <a:pt x="149148" y="154581"/>
                      </a:cubicBezTo>
                      <a:cubicBezTo>
                        <a:pt x="149148" y="154581"/>
                        <a:pt x="144534" y="138205"/>
                        <a:pt x="190711" y="162894"/>
                      </a:cubicBezTo>
                      <a:cubicBezTo>
                        <a:pt x="236888" y="187583"/>
                        <a:pt x="305843" y="224034"/>
                        <a:pt x="346533" y="202380"/>
                      </a:cubicBezTo>
                      <a:cubicBezTo>
                        <a:pt x="386227" y="181224"/>
                        <a:pt x="426419" y="74946"/>
                        <a:pt x="321595" y="94605"/>
                      </a:cubicBezTo>
                      <a:cubicBezTo>
                        <a:pt x="318270" y="95279"/>
                        <a:pt x="315028" y="93126"/>
                        <a:pt x="314363" y="89796"/>
                      </a:cubicBezTo>
                      <a:cubicBezTo>
                        <a:pt x="314238" y="89260"/>
                        <a:pt x="314197" y="88707"/>
                        <a:pt x="314238" y="88163"/>
                      </a:cubicBezTo>
                      <a:cubicBezTo>
                        <a:pt x="315527" y="70664"/>
                        <a:pt x="313781" y="30473"/>
                        <a:pt x="273091" y="17505"/>
                      </a:cubicBezTo>
                      <a:cubicBezTo>
                        <a:pt x="234977" y="5410"/>
                        <a:pt x="214112" y="22617"/>
                        <a:pt x="205550" y="33008"/>
                      </a:cubicBezTo>
                      <a:cubicBezTo>
                        <a:pt x="203430" y="35672"/>
                        <a:pt x="199564" y="36117"/>
                        <a:pt x="196904" y="34010"/>
                      </a:cubicBezTo>
                      <a:cubicBezTo>
                        <a:pt x="196530" y="33714"/>
                        <a:pt x="196198" y="33378"/>
                        <a:pt x="195907" y="33008"/>
                      </a:cubicBezTo>
                      <a:cubicBezTo>
                        <a:pt x="184477" y="18087"/>
                        <a:pt x="153512" y="-13627"/>
                        <a:pt x="107875" y="6490"/>
                      </a:cubicBezTo>
                      <a:cubicBezTo>
                        <a:pt x="70468" y="23116"/>
                        <a:pt x="64441" y="46184"/>
                        <a:pt x="65065" y="60523"/>
                      </a:cubicBezTo>
                      <a:cubicBezTo>
                        <a:pt x="65231" y="63915"/>
                        <a:pt x="62612" y="66799"/>
                        <a:pt x="59204" y="66965"/>
                      </a:cubicBezTo>
                      <a:cubicBezTo>
                        <a:pt x="58206" y="67015"/>
                        <a:pt x="57209" y="66816"/>
                        <a:pt x="56295" y="66383"/>
                      </a:cubicBezTo>
                      <a:cubicBezTo>
                        <a:pt x="44781" y="61105"/>
                        <a:pt x="26244" y="58320"/>
                        <a:pt x="8538" y="80557"/>
                      </a:cubicBezTo>
                      <a:cubicBezTo>
                        <a:pt x="-15985" y="111272"/>
                        <a:pt x="19054" y="137915"/>
                        <a:pt x="29569" y="144897"/>
                      </a:cubicBezTo>
                      <a:cubicBezTo>
                        <a:pt x="31315" y="146028"/>
                        <a:pt x="32354" y="147948"/>
                        <a:pt x="32354" y="150010"/>
                      </a:cubicBezTo>
                      <a:cubicBezTo>
                        <a:pt x="32354" y="165970"/>
                        <a:pt x="34931" y="235631"/>
                        <a:pt x="69761" y="274950"/>
                      </a:cubicBezTo>
                      <a:cubicBezTo>
                        <a:pt x="72089" y="277494"/>
                        <a:pt x="76037" y="277668"/>
                        <a:pt x="78573" y="275349"/>
                      </a:cubicBezTo>
                      <a:cubicBezTo>
                        <a:pt x="79238" y="274738"/>
                        <a:pt x="79778" y="273994"/>
                        <a:pt x="80111" y="273163"/>
                      </a:cubicBezTo>
                      <a:lnTo>
                        <a:pt x="107002" y="209113"/>
                      </a:lnTo>
                      <a:cubicBezTo>
                        <a:pt x="108249" y="206116"/>
                        <a:pt x="111574" y="204574"/>
                        <a:pt x="114650" y="20558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4" name="Freeform: Shape 1623">
                  <a:extLst>
                    <a:ext uri="{FF2B5EF4-FFF2-40B4-BE49-F238E27FC236}">
                      <a16:creationId xmlns:a16="http://schemas.microsoft.com/office/drawing/2014/main" id="{2E907A3C-70C1-4AEB-8CE7-503B180D4F81}"/>
                    </a:ext>
                  </a:extLst>
                </p:cNvPr>
                <p:cNvSpPr/>
                <p:nvPr/>
              </p:nvSpPr>
              <p:spPr>
                <a:xfrm>
                  <a:off x="5446487" y="1561480"/>
                  <a:ext cx="50414" cy="82942"/>
                </a:xfrm>
                <a:custGeom>
                  <a:avLst/>
                  <a:gdLst>
                    <a:gd name="connsiteX0" fmla="*/ 50414 w 50414"/>
                    <a:gd name="connsiteY0" fmla="*/ 49484 h 82942"/>
                    <a:gd name="connsiteX1" fmla="*/ 9059 w 50414"/>
                    <a:gd name="connsiteY1" fmla="*/ 4346 h 82942"/>
                    <a:gd name="connsiteX2" fmla="*/ 44138 w 50414"/>
                    <a:gd name="connsiteY2" fmla="*/ 82943 h 82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414" h="82942">
                      <a:moveTo>
                        <a:pt x="50414" y="49484"/>
                      </a:moveTo>
                      <a:cubicBezTo>
                        <a:pt x="50414" y="49484"/>
                        <a:pt x="33997" y="-17392"/>
                        <a:pt x="9059" y="4346"/>
                      </a:cubicBezTo>
                      <a:cubicBezTo>
                        <a:pt x="-15880" y="26084"/>
                        <a:pt x="15584" y="73840"/>
                        <a:pt x="44138" y="82943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5" name="Freeform: Shape 1624">
                  <a:extLst>
                    <a:ext uri="{FF2B5EF4-FFF2-40B4-BE49-F238E27FC236}">
                      <a16:creationId xmlns:a16="http://schemas.microsoft.com/office/drawing/2014/main" id="{C9A3A67D-AC40-4DFA-A7F4-DAB28E985003}"/>
                    </a:ext>
                  </a:extLst>
                </p:cNvPr>
                <p:cNvSpPr/>
                <p:nvPr/>
              </p:nvSpPr>
              <p:spPr>
                <a:xfrm>
                  <a:off x="5097367" y="1734976"/>
                  <a:ext cx="358843" cy="537972"/>
                </a:xfrm>
                <a:custGeom>
                  <a:avLst/>
                  <a:gdLst>
                    <a:gd name="connsiteX0" fmla="*/ 211958 w 358843"/>
                    <a:gd name="connsiteY0" fmla="*/ 158122 h 537972"/>
                    <a:gd name="connsiteX1" fmla="*/ 153436 w 358843"/>
                    <a:gd name="connsiteY1" fmla="*/ 180 h 537972"/>
                    <a:gd name="connsiteX2" fmla="*/ 23134 w 358843"/>
                    <a:gd name="connsiteY2" fmla="*/ 280278 h 537972"/>
                    <a:gd name="connsiteX3" fmla="*/ 300405 w 358843"/>
                    <a:gd name="connsiteY3" fmla="*/ 537972 h 537972"/>
                    <a:gd name="connsiteX4" fmla="*/ 358843 w 358843"/>
                    <a:gd name="connsiteY4" fmla="*/ 405550 h 537972"/>
                    <a:gd name="connsiteX5" fmla="*/ 211958 w 358843"/>
                    <a:gd name="connsiteY5" fmla="*/ 158122 h 537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58843" h="537972">
                      <a:moveTo>
                        <a:pt x="211958" y="158122"/>
                      </a:moveTo>
                      <a:cubicBezTo>
                        <a:pt x="211958" y="158122"/>
                        <a:pt x="216987" y="3381"/>
                        <a:pt x="153436" y="180"/>
                      </a:cubicBezTo>
                      <a:cubicBezTo>
                        <a:pt x="74465" y="-3685"/>
                        <a:pt x="-52387" y="53506"/>
                        <a:pt x="23134" y="280278"/>
                      </a:cubicBezTo>
                      <a:cubicBezTo>
                        <a:pt x="64698" y="405550"/>
                        <a:pt x="127750" y="498528"/>
                        <a:pt x="300405" y="537972"/>
                      </a:cubicBezTo>
                      <a:cubicBezTo>
                        <a:pt x="306723" y="489122"/>
                        <a:pt x="327006" y="443137"/>
                        <a:pt x="358843" y="405550"/>
                      </a:cubicBezTo>
                      <a:cubicBezTo>
                        <a:pt x="288518" y="355674"/>
                        <a:pt x="228916" y="278574"/>
                        <a:pt x="211958" y="158122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8" name="Freeform: Shape 1627">
                  <a:extLst>
                    <a:ext uri="{FF2B5EF4-FFF2-40B4-BE49-F238E27FC236}">
                      <a16:creationId xmlns:a16="http://schemas.microsoft.com/office/drawing/2014/main" id="{4AB5EEB3-72B3-4632-93F8-DF09A7B1432D}"/>
                    </a:ext>
                  </a:extLst>
                </p:cNvPr>
                <p:cNvSpPr/>
                <p:nvPr/>
              </p:nvSpPr>
              <p:spPr>
                <a:xfrm>
                  <a:off x="5397647" y="2140319"/>
                  <a:ext cx="357946" cy="153436"/>
                </a:xfrm>
                <a:custGeom>
                  <a:avLst/>
                  <a:gdLst>
                    <a:gd name="connsiteX0" fmla="*/ 357946 w 357946"/>
                    <a:gd name="connsiteY0" fmla="*/ 148548 h 153436"/>
                    <a:gd name="connsiteX1" fmla="*/ 357697 w 357946"/>
                    <a:gd name="connsiteY1" fmla="*/ 88530 h 153436"/>
                    <a:gd name="connsiteX2" fmla="*/ 58439 w 357946"/>
                    <a:gd name="connsiteY2" fmla="*/ 0 h 153436"/>
                    <a:gd name="connsiteX3" fmla="*/ 0 w 357946"/>
                    <a:gd name="connsiteY3" fmla="*/ 132671 h 153436"/>
                    <a:gd name="connsiteX4" fmla="*/ 357946 w 357946"/>
                    <a:gd name="connsiteY4" fmla="*/ 148548 h 153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7946" h="153436">
                      <a:moveTo>
                        <a:pt x="357946" y="148548"/>
                      </a:moveTo>
                      <a:lnTo>
                        <a:pt x="357697" y="88530"/>
                      </a:lnTo>
                      <a:cubicBezTo>
                        <a:pt x="357697" y="88530"/>
                        <a:pt x="189488" y="92271"/>
                        <a:pt x="58439" y="0"/>
                      </a:cubicBezTo>
                      <a:cubicBezTo>
                        <a:pt x="26559" y="37657"/>
                        <a:pt x="6276" y="83734"/>
                        <a:pt x="0" y="132671"/>
                      </a:cubicBezTo>
                      <a:cubicBezTo>
                        <a:pt x="87450" y="152622"/>
                        <a:pt x="202872" y="158815"/>
                        <a:pt x="357946" y="148548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29" name="Freeform: Shape 1628">
                  <a:extLst>
                    <a:ext uri="{FF2B5EF4-FFF2-40B4-BE49-F238E27FC236}">
                      <a16:creationId xmlns:a16="http://schemas.microsoft.com/office/drawing/2014/main" id="{35C0CE80-4504-48BE-BBC5-C72D7B70F241}"/>
                    </a:ext>
                  </a:extLst>
                </p:cNvPr>
                <p:cNvSpPr/>
                <p:nvPr/>
              </p:nvSpPr>
              <p:spPr>
                <a:xfrm>
                  <a:off x="5516636" y="2261289"/>
                  <a:ext cx="584579" cy="48526"/>
                </a:xfrm>
                <a:custGeom>
                  <a:avLst/>
                  <a:gdLst>
                    <a:gd name="connsiteX0" fmla="*/ 23325 w 584579"/>
                    <a:gd name="connsiteY0" fmla="*/ 48527 h 48526"/>
                    <a:gd name="connsiteX1" fmla="*/ 24572 w 584579"/>
                    <a:gd name="connsiteY1" fmla="*/ 48527 h 48526"/>
                    <a:gd name="connsiteX2" fmla="*/ 559579 w 584579"/>
                    <a:gd name="connsiteY2" fmla="*/ 47945 h 48526"/>
                    <a:gd name="connsiteX3" fmla="*/ 584559 w 584579"/>
                    <a:gd name="connsiteY3" fmla="*/ 24981 h 48526"/>
                    <a:gd name="connsiteX4" fmla="*/ 561574 w 584579"/>
                    <a:gd name="connsiteY4" fmla="*/ 22 h 48526"/>
                    <a:gd name="connsiteX5" fmla="*/ 559579 w 584579"/>
                    <a:gd name="connsiteY5" fmla="*/ 22 h 48526"/>
                    <a:gd name="connsiteX6" fmla="*/ 24572 w 584579"/>
                    <a:gd name="connsiteY6" fmla="*/ 604 h 48526"/>
                    <a:gd name="connsiteX7" fmla="*/ 8 w 584579"/>
                    <a:gd name="connsiteY7" fmla="*/ 23942 h 48526"/>
                    <a:gd name="connsiteX8" fmla="*/ 23366 w 584579"/>
                    <a:gd name="connsiteY8" fmla="*/ 48485 h 48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84579" h="48526">
                      <a:moveTo>
                        <a:pt x="23325" y="48527"/>
                      </a:moveTo>
                      <a:lnTo>
                        <a:pt x="24572" y="48527"/>
                      </a:lnTo>
                      <a:lnTo>
                        <a:pt x="559579" y="47945"/>
                      </a:lnTo>
                      <a:cubicBezTo>
                        <a:pt x="572796" y="48498"/>
                        <a:pt x="583977" y="38215"/>
                        <a:pt x="584559" y="24981"/>
                      </a:cubicBezTo>
                      <a:cubicBezTo>
                        <a:pt x="585099" y="11747"/>
                        <a:pt x="574791" y="575"/>
                        <a:pt x="561574" y="22"/>
                      </a:cubicBezTo>
                      <a:cubicBezTo>
                        <a:pt x="560909" y="-7"/>
                        <a:pt x="560244" y="-7"/>
                        <a:pt x="559579" y="22"/>
                      </a:cubicBezTo>
                      <a:lnTo>
                        <a:pt x="24572" y="604"/>
                      </a:lnTo>
                      <a:cubicBezTo>
                        <a:pt x="11354" y="271"/>
                        <a:pt x="382" y="10720"/>
                        <a:pt x="8" y="23942"/>
                      </a:cubicBezTo>
                      <a:cubicBezTo>
                        <a:pt x="-325" y="37163"/>
                        <a:pt x="10149" y="48153"/>
                        <a:pt x="23366" y="48485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30" name="Freeform: Shape 1629">
                  <a:extLst>
                    <a:ext uri="{FF2B5EF4-FFF2-40B4-BE49-F238E27FC236}">
                      <a16:creationId xmlns:a16="http://schemas.microsoft.com/office/drawing/2014/main" id="{1B66121B-3E3A-4BBD-A259-FBE54797759B}"/>
                    </a:ext>
                  </a:extLst>
                </p:cNvPr>
                <p:cNvSpPr/>
                <p:nvPr/>
              </p:nvSpPr>
              <p:spPr>
                <a:xfrm>
                  <a:off x="5828828" y="1824061"/>
                  <a:ext cx="763926" cy="485463"/>
                </a:xfrm>
                <a:custGeom>
                  <a:avLst/>
                  <a:gdLst>
                    <a:gd name="connsiteX0" fmla="*/ 728361 w 763926"/>
                    <a:gd name="connsiteY0" fmla="*/ 0 h 485463"/>
                    <a:gd name="connsiteX1" fmla="*/ 282799 w 763926"/>
                    <a:gd name="connsiteY1" fmla="*/ 0 h 485463"/>
                    <a:gd name="connsiteX2" fmla="*/ 205990 w 763926"/>
                    <a:gd name="connsiteY2" fmla="*/ 48671 h 485463"/>
                    <a:gd name="connsiteX3" fmla="*/ 0 w 763926"/>
                    <a:gd name="connsiteY3" fmla="*/ 485463 h 485463"/>
                    <a:gd name="connsiteX4" fmla="*/ 553711 w 763926"/>
                    <a:gd name="connsiteY4" fmla="*/ 485463 h 485463"/>
                    <a:gd name="connsiteX5" fmla="*/ 601717 w 763926"/>
                    <a:gd name="connsiteY5" fmla="*/ 452836 h 485463"/>
                    <a:gd name="connsiteX6" fmla="*/ 761446 w 763926"/>
                    <a:gd name="connsiteY6" fmla="*/ 48630 h 485463"/>
                    <a:gd name="connsiteX7" fmla="*/ 741412 w 763926"/>
                    <a:gd name="connsiteY7" fmla="*/ 2481 h 485463"/>
                    <a:gd name="connsiteX8" fmla="*/ 728361 w 763926"/>
                    <a:gd name="connsiteY8" fmla="*/ 0 h 485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3926" h="485463">
                      <a:moveTo>
                        <a:pt x="728361" y="0"/>
                      </a:moveTo>
                      <a:lnTo>
                        <a:pt x="282799" y="0"/>
                      </a:lnTo>
                      <a:cubicBezTo>
                        <a:pt x="249922" y="-8"/>
                        <a:pt x="219997" y="18949"/>
                        <a:pt x="205990" y="48671"/>
                      </a:cubicBezTo>
                      <a:lnTo>
                        <a:pt x="0" y="485463"/>
                      </a:lnTo>
                      <a:lnTo>
                        <a:pt x="553711" y="485463"/>
                      </a:lnTo>
                      <a:cubicBezTo>
                        <a:pt x="574909" y="485476"/>
                        <a:pt x="593944" y="472537"/>
                        <a:pt x="601717" y="452836"/>
                      </a:cubicBezTo>
                      <a:lnTo>
                        <a:pt x="761446" y="48630"/>
                      </a:lnTo>
                      <a:cubicBezTo>
                        <a:pt x="768637" y="30350"/>
                        <a:pt x="759659" y="9689"/>
                        <a:pt x="741412" y="2481"/>
                      </a:cubicBezTo>
                      <a:cubicBezTo>
                        <a:pt x="737256" y="844"/>
                        <a:pt x="732809" y="0"/>
                        <a:pt x="728361" y="0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31" name="Freeform: Shape 1630">
                  <a:extLst>
                    <a:ext uri="{FF2B5EF4-FFF2-40B4-BE49-F238E27FC236}">
                      <a16:creationId xmlns:a16="http://schemas.microsoft.com/office/drawing/2014/main" id="{4C93D3B4-EBFC-45E8-AC31-41FE503B9244}"/>
                    </a:ext>
                  </a:extLst>
                </p:cNvPr>
                <p:cNvSpPr/>
                <p:nvPr/>
              </p:nvSpPr>
              <p:spPr>
                <a:xfrm>
                  <a:off x="6238980" y="2003381"/>
                  <a:ext cx="75466" cy="110779"/>
                </a:xfrm>
                <a:custGeom>
                  <a:avLst/>
                  <a:gdLst>
                    <a:gd name="connsiteX0" fmla="*/ 4320 w 75466"/>
                    <a:gd name="connsiteY0" fmla="*/ 44625 h 110779"/>
                    <a:gd name="connsiteX1" fmla="*/ 20240 w 75466"/>
                    <a:gd name="connsiteY1" fmla="*/ 109714 h 110779"/>
                    <a:gd name="connsiteX2" fmla="*/ 71155 w 75466"/>
                    <a:gd name="connsiteY2" fmla="*/ 66114 h 110779"/>
                    <a:gd name="connsiteX3" fmla="*/ 55195 w 75466"/>
                    <a:gd name="connsiteY3" fmla="*/ 1067 h 110779"/>
                    <a:gd name="connsiteX4" fmla="*/ 4320 w 75466"/>
                    <a:gd name="connsiteY4" fmla="*/ 44625 h 11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466" h="110779">
                      <a:moveTo>
                        <a:pt x="4320" y="44625"/>
                      </a:moveTo>
                      <a:cubicBezTo>
                        <a:pt x="-5364" y="74634"/>
                        <a:pt x="1785" y="103770"/>
                        <a:pt x="20240" y="109714"/>
                      </a:cubicBezTo>
                      <a:cubicBezTo>
                        <a:pt x="38694" y="115658"/>
                        <a:pt x="61470" y="96123"/>
                        <a:pt x="71155" y="66114"/>
                      </a:cubicBezTo>
                      <a:cubicBezTo>
                        <a:pt x="80839" y="36105"/>
                        <a:pt x="73649" y="7010"/>
                        <a:pt x="55195" y="1067"/>
                      </a:cubicBezTo>
                      <a:cubicBezTo>
                        <a:pt x="36740" y="-4877"/>
                        <a:pt x="13963" y="14616"/>
                        <a:pt x="4320" y="4462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676" name="Freeform: Shape 1675">
                  <a:extLst>
                    <a:ext uri="{FF2B5EF4-FFF2-40B4-BE49-F238E27FC236}">
                      <a16:creationId xmlns:a16="http://schemas.microsoft.com/office/drawing/2014/main" id="{CD705FB9-9195-4698-84F9-34B8BCB8DA4D}"/>
                    </a:ext>
                  </a:extLst>
                </p:cNvPr>
                <p:cNvSpPr/>
                <p:nvPr/>
              </p:nvSpPr>
              <p:spPr>
                <a:xfrm>
                  <a:off x="2939204" y="5544852"/>
                  <a:ext cx="20109" cy="30327"/>
                </a:xfrm>
                <a:custGeom>
                  <a:avLst/>
                  <a:gdLst>
                    <a:gd name="connsiteX0" fmla="*/ 15956 w 20109"/>
                    <a:gd name="connsiteY0" fmla="*/ 30327 h 30327"/>
                    <a:gd name="connsiteX1" fmla="*/ 12298 w 20109"/>
                    <a:gd name="connsiteY1" fmla="*/ 28124 h 30327"/>
                    <a:gd name="connsiteX2" fmla="*/ 494 w 20109"/>
                    <a:gd name="connsiteY2" fmla="*/ 6137 h 30327"/>
                    <a:gd name="connsiteX3" fmla="*/ 2190 w 20109"/>
                    <a:gd name="connsiteY3" fmla="*/ 526 h 30327"/>
                    <a:gd name="connsiteX4" fmla="*/ 2240 w 20109"/>
                    <a:gd name="connsiteY4" fmla="*/ 485 h 30327"/>
                    <a:gd name="connsiteX5" fmla="*/ 7851 w 20109"/>
                    <a:gd name="connsiteY5" fmla="*/ 2230 h 30327"/>
                    <a:gd name="connsiteX6" fmla="*/ 19614 w 20109"/>
                    <a:gd name="connsiteY6" fmla="*/ 24176 h 30327"/>
                    <a:gd name="connsiteX7" fmla="*/ 17951 w 20109"/>
                    <a:gd name="connsiteY7" fmla="*/ 29787 h 30327"/>
                    <a:gd name="connsiteX8" fmla="*/ 15956 w 20109"/>
                    <a:gd name="connsiteY8" fmla="*/ 30327 h 30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109" h="30327">
                      <a:moveTo>
                        <a:pt x="15956" y="30327"/>
                      </a:moveTo>
                      <a:cubicBezTo>
                        <a:pt x="14422" y="30327"/>
                        <a:pt x="13017" y="29496"/>
                        <a:pt x="12298" y="28124"/>
                      </a:cubicBezTo>
                      <a:cubicBezTo>
                        <a:pt x="8142" y="20768"/>
                        <a:pt x="4360" y="13411"/>
                        <a:pt x="494" y="6137"/>
                      </a:cubicBezTo>
                      <a:cubicBezTo>
                        <a:pt x="-591" y="4101"/>
                        <a:pt x="170" y="1606"/>
                        <a:pt x="2190" y="526"/>
                      </a:cubicBezTo>
                      <a:cubicBezTo>
                        <a:pt x="2207" y="485"/>
                        <a:pt x="2223" y="485"/>
                        <a:pt x="2240" y="485"/>
                      </a:cubicBezTo>
                      <a:cubicBezTo>
                        <a:pt x="4272" y="-596"/>
                        <a:pt x="6783" y="193"/>
                        <a:pt x="7851" y="2230"/>
                      </a:cubicBezTo>
                      <a:cubicBezTo>
                        <a:pt x="11704" y="9504"/>
                        <a:pt x="15623" y="16819"/>
                        <a:pt x="19614" y="24176"/>
                      </a:cubicBezTo>
                      <a:cubicBezTo>
                        <a:pt x="20694" y="26171"/>
                        <a:pt x="19950" y="28706"/>
                        <a:pt x="17951" y="29787"/>
                      </a:cubicBezTo>
                      <a:cubicBezTo>
                        <a:pt x="17340" y="30119"/>
                        <a:pt x="16654" y="30327"/>
                        <a:pt x="15956" y="30327"/>
                      </a:cubicBezTo>
                      <a:close/>
                    </a:path>
                  </a:pathLst>
                </a:custGeom>
                <a:solidFill>
                  <a:srgbClr val="7D97F4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0" name="Freeform: Shape 1699">
                  <a:extLst>
                    <a:ext uri="{FF2B5EF4-FFF2-40B4-BE49-F238E27FC236}">
                      <a16:creationId xmlns:a16="http://schemas.microsoft.com/office/drawing/2014/main" id="{E2B5995C-71B1-4129-917F-65DD2A0A3B1A}"/>
                    </a:ext>
                  </a:extLst>
                </p:cNvPr>
                <p:cNvSpPr/>
                <p:nvPr/>
              </p:nvSpPr>
              <p:spPr>
                <a:xfrm>
                  <a:off x="9633523" y="6222491"/>
                  <a:ext cx="193048" cy="153702"/>
                </a:xfrm>
                <a:custGeom>
                  <a:avLst/>
                  <a:gdLst>
                    <a:gd name="connsiteX0" fmla="*/ 166171 w 193048"/>
                    <a:gd name="connsiteY0" fmla="*/ 8770 h 153702"/>
                    <a:gd name="connsiteX1" fmla="*/ 193021 w 193048"/>
                    <a:gd name="connsiteY1" fmla="*/ 137368 h 153702"/>
                    <a:gd name="connsiteX2" fmla="*/ 178557 w 193048"/>
                    <a:gd name="connsiteY2" fmla="*/ 153661 h 153702"/>
                    <a:gd name="connsiteX3" fmla="*/ 177685 w 193048"/>
                    <a:gd name="connsiteY3" fmla="*/ 153702 h 153702"/>
                    <a:gd name="connsiteX4" fmla="*/ 9933 w 193048"/>
                    <a:gd name="connsiteY4" fmla="*/ 153702 h 153702"/>
                    <a:gd name="connsiteX5" fmla="*/ 0 w 193048"/>
                    <a:gd name="connsiteY5" fmla="*/ 143852 h 153702"/>
                    <a:gd name="connsiteX6" fmla="*/ 498 w 193048"/>
                    <a:gd name="connsiteY6" fmla="*/ 140693 h 153702"/>
                    <a:gd name="connsiteX7" fmla="*/ 106486 w 193048"/>
                    <a:gd name="connsiteY7" fmla="*/ 0 h 153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3048" h="153702">
                      <a:moveTo>
                        <a:pt x="166171" y="8770"/>
                      </a:moveTo>
                      <a:cubicBezTo>
                        <a:pt x="166171" y="8770"/>
                        <a:pt x="187618" y="42603"/>
                        <a:pt x="193021" y="137368"/>
                      </a:cubicBezTo>
                      <a:cubicBezTo>
                        <a:pt x="193520" y="145888"/>
                        <a:pt x="187036" y="153162"/>
                        <a:pt x="178557" y="153661"/>
                      </a:cubicBezTo>
                      <a:cubicBezTo>
                        <a:pt x="178266" y="153702"/>
                        <a:pt x="177975" y="153702"/>
                        <a:pt x="177685" y="153702"/>
                      </a:cubicBezTo>
                      <a:lnTo>
                        <a:pt x="9933" y="153702"/>
                      </a:lnTo>
                      <a:cubicBezTo>
                        <a:pt x="4488" y="153744"/>
                        <a:pt x="0" y="149338"/>
                        <a:pt x="0" y="143852"/>
                      </a:cubicBezTo>
                      <a:cubicBezTo>
                        <a:pt x="0" y="142771"/>
                        <a:pt x="165" y="141732"/>
                        <a:pt x="498" y="140693"/>
                      </a:cubicBezTo>
                      <a:cubicBezTo>
                        <a:pt x="10349" y="111598"/>
                        <a:pt x="40067" y="40566"/>
                        <a:pt x="106486" y="0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1" name="Freeform: Shape 1700">
                  <a:extLst>
                    <a:ext uri="{FF2B5EF4-FFF2-40B4-BE49-F238E27FC236}">
                      <a16:creationId xmlns:a16="http://schemas.microsoft.com/office/drawing/2014/main" id="{4BFFC05F-148C-42D7-B362-639F5923537A}"/>
                    </a:ext>
                  </a:extLst>
                </p:cNvPr>
                <p:cNvSpPr/>
                <p:nvPr/>
              </p:nvSpPr>
              <p:spPr>
                <a:xfrm>
                  <a:off x="9728619" y="6158234"/>
                  <a:ext cx="78348" cy="102631"/>
                </a:xfrm>
                <a:custGeom>
                  <a:avLst/>
                  <a:gdLst>
                    <a:gd name="connsiteX0" fmla="*/ 78348 w 78348"/>
                    <a:gd name="connsiteY0" fmla="*/ 8811 h 102631"/>
                    <a:gd name="connsiteX1" fmla="*/ 68872 w 78348"/>
                    <a:gd name="connsiteY1" fmla="*/ 88448 h 102631"/>
                    <a:gd name="connsiteX2" fmla="*/ 55779 w 78348"/>
                    <a:gd name="connsiteY2" fmla="*/ 101623 h 102631"/>
                    <a:gd name="connsiteX3" fmla="*/ 20284 w 78348"/>
                    <a:gd name="connsiteY3" fmla="*/ 101291 h 102631"/>
                    <a:gd name="connsiteX4" fmla="*/ 1 w 78348"/>
                    <a:gd name="connsiteY4" fmla="*/ 76893 h 102631"/>
                    <a:gd name="connsiteX5" fmla="*/ 1 w 78348"/>
                    <a:gd name="connsiteY5" fmla="*/ 0 h 102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8348" h="102631">
                      <a:moveTo>
                        <a:pt x="78348" y="8811"/>
                      </a:moveTo>
                      <a:lnTo>
                        <a:pt x="68872" y="88448"/>
                      </a:lnTo>
                      <a:cubicBezTo>
                        <a:pt x="68082" y="95347"/>
                        <a:pt x="62679" y="100792"/>
                        <a:pt x="55779" y="101623"/>
                      </a:cubicBezTo>
                      <a:cubicBezTo>
                        <a:pt x="43975" y="103078"/>
                        <a:pt x="32046" y="102953"/>
                        <a:pt x="20284" y="101291"/>
                      </a:cubicBezTo>
                      <a:cubicBezTo>
                        <a:pt x="8480" y="99171"/>
                        <a:pt x="-83" y="88863"/>
                        <a:pt x="1" y="76893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2" name="Freeform: Shape 1701">
                  <a:extLst>
                    <a:ext uri="{FF2B5EF4-FFF2-40B4-BE49-F238E27FC236}">
                      <a16:creationId xmlns:a16="http://schemas.microsoft.com/office/drawing/2014/main" id="{6B7556BB-652F-4ABF-9E8C-241CEFADC492}"/>
                    </a:ext>
                  </a:extLst>
                </p:cNvPr>
                <p:cNvSpPr/>
                <p:nvPr/>
              </p:nvSpPr>
              <p:spPr>
                <a:xfrm>
                  <a:off x="9112605" y="6222491"/>
                  <a:ext cx="303084" cy="147593"/>
                </a:xfrm>
                <a:custGeom>
                  <a:avLst/>
                  <a:gdLst>
                    <a:gd name="connsiteX0" fmla="*/ 271660 w 303084"/>
                    <a:gd name="connsiteY0" fmla="*/ 0 h 147593"/>
                    <a:gd name="connsiteX1" fmla="*/ 303082 w 303084"/>
                    <a:gd name="connsiteY1" fmla="*/ 118498 h 147593"/>
                    <a:gd name="connsiteX2" fmla="*/ 273239 w 303084"/>
                    <a:gd name="connsiteY2" fmla="*/ 147593 h 147593"/>
                    <a:gd name="connsiteX3" fmla="*/ 12469 w 303084"/>
                    <a:gd name="connsiteY3" fmla="*/ 147593 h 147593"/>
                    <a:gd name="connsiteX4" fmla="*/ 0 w 303084"/>
                    <a:gd name="connsiteY4" fmla="*/ 135123 h 147593"/>
                    <a:gd name="connsiteX5" fmla="*/ 5320 w 303084"/>
                    <a:gd name="connsiteY5" fmla="*/ 124899 h 147593"/>
                    <a:gd name="connsiteX6" fmla="*/ 221784 w 303084"/>
                    <a:gd name="connsiteY6" fmla="*/ 208 h 1475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03084" h="147593">
                      <a:moveTo>
                        <a:pt x="271660" y="0"/>
                      </a:moveTo>
                      <a:cubicBezTo>
                        <a:pt x="292442" y="35994"/>
                        <a:pt x="303290" y="76893"/>
                        <a:pt x="303082" y="118498"/>
                      </a:cubicBezTo>
                      <a:cubicBezTo>
                        <a:pt x="302791" y="134749"/>
                        <a:pt x="289491" y="147717"/>
                        <a:pt x="273239" y="147593"/>
                      </a:cubicBezTo>
                      <a:lnTo>
                        <a:pt x="12469" y="147593"/>
                      </a:lnTo>
                      <a:cubicBezTo>
                        <a:pt x="5569" y="147593"/>
                        <a:pt x="0" y="142023"/>
                        <a:pt x="0" y="135123"/>
                      </a:cubicBezTo>
                      <a:cubicBezTo>
                        <a:pt x="0" y="131050"/>
                        <a:pt x="1995" y="127226"/>
                        <a:pt x="5320" y="124899"/>
                      </a:cubicBezTo>
                      <a:cubicBezTo>
                        <a:pt x="54656" y="90235"/>
                        <a:pt x="151624" y="25520"/>
                        <a:pt x="221784" y="208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3" name="Freeform: Shape 1702">
                  <a:extLst>
                    <a:ext uri="{FF2B5EF4-FFF2-40B4-BE49-F238E27FC236}">
                      <a16:creationId xmlns:a16="http://schemas.microsoft.com/office/drawing/2014/main" id="{39004CE5-D27B-4A8F-95C8-29FB8927877A}"/>
                    </a:ext>
                  </a:extLst>
                </p:cNvPr>
                <p:cNvSpPr/>
                <p:nvPr/>
              </p:nvSpPr>
              <p:spPr>
                <a:xfrm>
                  <a:off x="9333177" y="6098299"/>
                  <a:ext cx="77938" cy="152911"/>
                </a:xfrm>
                <a:custGeom>
                  <a:avLst/>
                  <a:gdLst>
                    <a:gd name="connsiteX0" fmla="*/ 77938 w 77938"/>
                    <a:gd name="connsiteY0" fmla="*/ 38197 h 152911"/>
                    <a:gd name="connsiteX1" fmla="*/ 57655 w 77938"/>
                    <a:gd name="connsiteY1" fmla="*/ 136536 h 152911"/>
                    <a:gd name="connsiteX2" fmla="*/ 33923 w 77938"/>
                    <a:gd name="connsiteY2" fmla="*/ 152539 h 152911"/>
                    <a:gd name="connsiteX3" fmla="*/ 33673 w 77938"/>
                    <a:gd name="connsiteY3" fmla="*/ 152497 h 152911"/>
                    <a:gd name="connsiteX4" fmla="*/ 10771 w 77938"/>
                    <a:gd name="connsiteY4" fmla="*/ 142896 h 152911"/>
                    <a:gd name="connsiteX5" fmla="*/ 381 w 77938"/>
                    <a:gd name="connsiteY5" fmla="*/ 119122 h 152911"/>
                    <a:gd name="connsiteX6" fmla="*/ 21162 w 77938"/>
                    <a:gd name="connsiteY6" fmla="*/ 0 h 152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7938" h="152911">
                      <a:moveTo>
                        <a:pt x="77938" y="38197"/>
                      </a:moveTo>
                      <a:lnTo>
                        <a:pt x="57655" y="136536"/>
                      </a:lnTo>
                      <a:cubicBezTo>
                        <a:pt x="55536" y="147509"/>
                        <a:pt x="44896" y="154659"/>
                        <a:pt x="33923" y="152539"/>
                      </a:cubicBezTo>
                      <a:cubicBezTo>
                        <a:pt x="33839" y="152539"/>
                        <a:pt x="33756" y="152497"/>
                        <a:pt x="33673" y="152497"/>
                      </a:cubicBezTo>
                      <a:cubicBezTo>
                        <a:pt x="25568" y="150627"/>
                        <a:pt x="17796" y="147343"/>
                        <a:pt x="10771" y="142896"/>
                      </a:cubicBezTo>
                      <a:cubicBezTo>
                        <a:pt x="2792" y="137825"/>
                        <a:pt x="-1323" y="128432"/>
                        <a:pt x="381" y="119122"/>
                      </a:cubicBezTo>
                      <a:lnTo>
                        <a:pt x="21162" y="0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4" name="Freeform: Shape 1703">
                  <a:extLst>
                    <a:ext uri="{FF2B5EF4-FFF2-40B4-BE49-F238E27FC236}">
                      <a16:creationId xmlns:a16="http://schemas.microsoft.com/office/drawing/2014/main" id="{2946DE65-998F-4DD8-86A4-6DFA7E55A6E2}"/>
                    </a:ext>
                  </a:extLst>
                </p:cNvPr>
                <p:cNvSpPr/>
                <p:nvPr/>
              </p:nvSpPr>
              <p:spPr>
                <a:xfrm>
                  <a:off x="9324538" y="4769136"/>
                  <a:ext cx="531042" cy="1428872"/>
                </a:xfrm>
                <a:custGeom>
                  <a:avLst/>
                  <a:gdLst>
                    <a:gd name="connsiteX0" fmla="*/ 445229 w 531042"/>
                    <a:gd name="connsiteY0" fmla="*/ 0 h 1428872"/>
                    <a:gd name="connsiteX1" fmla="*/ 528897 w 531042"/>
                    <a:gd name="connsiteY1" fmla="*/ 136786 h 1428872"/>
                    <a:gd name="connsiteX2" fmla="*/ 491490 w 531042"/>
                    <a:gd name="connsiteY2" fmla="*/ 1425757 h 1428872"/>
                    <a:gd name="connsiteX3" fmla="*/ 384755 w 531042"/>
                    <a:gd name="connsiteY3" fmla="*/ 1415449 h 1428872"/>
                    <a:gd name="connsiteX4" fmla="*/ 308943 w 531042"/>
                    <a:gd name="connsiteY4" fmla="*/ 445354 h 1428872"/>
                    <a:gd name="connsiteX5" fmla="*/ 89736 w 531042"/>
                    <a:gd name="connsiteY5" fmla="*/ 1409132 h 1428872"/>
                    <a:gd name="connsiteX6" fmla="*/ 0 w 531042"/>
                    <a:gd name="connsiteY6" fmla="*/ 1404477 h 1428872"/>
                    <a:gd name="connsiteX7" fmla="*/ 101498 w 531042"/>
                    <a:gd name="connsiteY7" fmla="*/ 158191 h 1428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31042" h="1428872">
                      <a:moveTo>
                        <a:pt x="445229" y="0"/>
                      </a:moveTo>
                      <a:cubicBezTo>
                        <a:pt x="445229" y="0"/>
                        <a:pt x="515887" y="62096"/>
                        <a:pt x="528897" y="136786"/>
                      </a:cubicBezTo>
                      <a:cubicBezTo>
                        <a:pt x="541906" y="211476"/>
                        <a:pt x="491490" y="1425757"/>
                        <a:pt x="491490" y="1425757"/>
                      </a:cubicBezTo>
                      <a:cubicBezTo>
                        <a:pt x="491490" y="1425757"/>
                        <a:pt x="421040" y="1437478"/>
                        <a:pt x="384755" y="1415449"/>
                      </a:cubicBezTo>
                      <a:cubicBezTo>
                        <a:pt x="384755" y="1415449"/>
                        <a:pt x="341695" y="627445"/>
                        <a:pt x="308943" y="445354"/>
                      </a:cubicBezTo>
                      <a:cubicBezTo>
                        <a:pt x="308943" y="445354"/>
                        <a:pt x="137326" y="1261622"/>
                        <a:pt x="89736" y="1409132"/>
                      </a:cubicBezTo>
                      <a:cubicBezTo>
                        <a:pt x="89736" y="1409132"/>
                        <a:pt x="21904" y="1417444"/>
                        <a:pt x="0" y="1404477"/>
                      </a:cubicBezTo>
                      <a:cubicBezTo>
                        <a:pt x="0" y="1404477"/>
                        <a:pt x="44972" y="346308"/>
                        <a:pt x="101498" y="158191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6" name="Freeform: Shape 1705">
                  <a:extLst>
                    <a:ext uri="{FF2B5EF4-FFF2-40B4-BE49-F238E27FC236}">
                      <a16:creationId xmlns:a16="http://schemas.microsoft.com/office/drawing/2014/main" id="{B42ADD45-4D15-4E1E-B9AD-6488B8642136}"/>
                    </a:ext>
                  </a:extLst>
                </p:cNvPr>
                <p:cNvSpPr/>
                <p:nvPr/>
              </p:nvSpPr>
              <p:spPr>
                <a:xfrm>
                  <a:off x="8806239" y="4037865"/>
                  <a:ext cx="642574" cy="291360"/>
                </a:xfrm>
                <a:custGeom>
                  <a:avLst/>
                  <a:gdLst>
                    <a:gd name="connsiteX0" fmla="*/ 268502 w 642574"/>
                    <a:gd name="connsiteY0" fmla="*/ 29676 h 291360"/>
                    <a:gd name="connsiteX1" fmla="*/ 642574 w 642574"/>
                    <a:gd name="connsiteY1" fmla="*/ 66419 h 291360"/>
                    <a:gd name="connsiteX2" fmla="*/ 500052 w 642574"/>
                    <a:gd name="connsiteY2" fmla="*/ 291361 h 291360"/>
                    <a:gd name="connsiteX3" fmla="*/ 0 w 642574"/>
                    <a:gd name="connsiteY3" fmla="*/ 124691 h 291360"/>
                    <a:gd name="connsiteX4" fmla="*/ 83585 w 642574"/>
                    <a:gd name="connsiteY4" fmla="*/ 0 h 291360"/>
                    <a:gd name="connsiteX5" fmla="*/ 268502 w 642574"/>
                    <a:gd name="connsiteY5" fmla="*/ 29676 h 291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42574" h="291360">
                      <a:moveTo>
                        <a:pt x="268502" y="29676"/>
                      </a:moveTo>
                      <a:cubicBezTo>
                        <a:pt x="564975" y="5029"/>
                        <a:pt x="642574" y="66419"/>
                        <a:pt x="642574" y="66419"/>
                      </a:cubicBezTo>
                      <a:lnTo>
                        <a:pt x="500052" y="291361"/>
                      </a:lnTo>
                      <a:cubicBezTo>
                        <a:pt x="500052" y="291361"/>
                        <a:pt x="208733" y="285584"/>
                        <a:pt x="0" y="124691"/>
                      </a:cubicBezTo>
                      <a:cubicBezTo>
                        <a:pt x="33874" y="87483"/>
                        <a:pt x="62013" y="45462"/>
                        <a:pt x="83585" y="0"/>
                      </a:cubicBezTo>
                      <a:cubicBezTo>
                        <a:pt x="141940" y="24656"/>
                        <a:pt x="205366" y="34839"/>
                        <a:pt x="268502" y="29676"/>
                      </a:cubicBezTo>
                      <a:close/>
                    </a:path>
                  </a:pathLst>
                </a:custGeom>
                <a:solidFill>
                  <a:srgbClr val="FE7062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7" name="Freeform: Shape 1706">
                  <a:extLst>
                    <a:ext uri="{FF2B5EF4-FFF2-40B4-BE49-F238E27FC236}">
                      <a16:creationId xmlns:a16="http://schemas.microsoft.com/office/drawing/2014/main" id="{6DE14E7F-48CF-4669-B084-053EECB0B60B}"/>
                    </a:ext>
                  </a:extLst>
                </p:cNvPr>
                <p:cNvSpPr/>
                <p:nvPr/>
              </p:nvSpPr>
              <p:spPr>
                <a:xfrm>
                  <a:off x="8600223" y="3623558"/>
                  <a:ext cx="289601" cy="538748"/>
                </a:xfrm>
                <a:custGeom>
                  <a:avLst/>
                  <a:gdLst>
                    <a:gd name="connsiteX0" fmla="*/ 10210 w 289601"/>
                    <a:gd name="connsiteY0" fmla="*/ 8771 h 538748"/>
                    <a:gd name="connsiteX1" fmla="*/ 19562 w 289601"/>
                    <a:gd name="connsiteY1" fmla="*/ 5 h 538748"/>
                    <a:gd name="connsiteX2" fmla="*/ 27501 w 289601"/>
                    <a:gd name="connsiteY2" fmla="*/ 5279 h 538748"/>
                    <a:gd name="connsiteX3" fmla="*/ 65324 w 289601"/>
                    <a:gd name="connsiteY3" fmla="*/ 85996 h 538748"/>
                    <a:gd name="connsiteX4" fmla="*/ 72057 w 289601"/>
                    <a:gd name="connsiteY4" fmla="*/ 135872 h 538748"/>
                    <a:gd name="connsiteX5" fmla="*/ 58799 w 289601"/>
                    <a:gd name="connsiteY5" fmla="*/ 182881 h 538748"/>
                    <a:gd name="connsiteX6" fmla="*/ 75424 w 289601"/>
                    <a:gd name="connsiteY6" fmla="*/ 247429 h 538748"/>
                    <a:gd name="connsiteX7" fmla="*/ 289602 w 289601"/>
                    <a:gd name="connsiteY7" fmla="*/ 414058 h 538748"/>
                    <a:gd name="connsiteX8" fmla="*/ 206017 w 289601"/>
                    <a:gd name="connsiteY8" fmla="*/ 538749 h 538748"/>
                    <a:gd name="connsiteX9" fmla="*/ 28041 w 289601"/>
                    <a:gd name="connsiteY9" fmla="*/ 291611 h 538748"/>
                    <a:gd name="connsiteX10" fmla="*/ 27 w 289601"/>
                    <a:gd name="connsiteY10" fmla="*/ 252167 h 538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89601" h="538748">
                      <a:moveTo>
                        <a:pt x="10210" y="8771"/>
                      </a:moveTo>
                      <a:cubicBezTo>
                        <a:pt x="10377" y="3771"/>
                        <a:pt x="14575" y="-157"/>
                        <a:pt x="19562" y="5"/>
                      </a:cubicBezTo>
                      <a:cubicBezTo>
                        <a:pt x="22971" y="113"/>
                        <a:pt x="26088" y="2158"/>
                        <a:pt x="27501" y="5279"/>
                      </a:cubicBezTo>
                      <a:lnTo>
                        <a:pt x="65324" y="85996"/>
                      </a:lnTo>
                      <a:cubicBezTo>
                        <a:pt x="72597" y="101545"/>
                        <a:pt x="74967" y="118948"/>
                        <a:pt x="72057" y="135872"/>
                      </a:cubicBezTo>
                      <a:lnTo>
                        <a:pt x="58799" y="182881"/>
                      </a:lnTo>
                      <a:cubicBezTo>
                        <a:pt x="54808" y="205786"/>
                        <a:pt x="60877" y="229299"/>
                        <a:pt x="75424" y="247429"/>
                      </a:cubicBezTo>
                      <a:cubicBezTo>
                        <a:pt x="110171" y="290905"/>
                        <a:pt x="184196" y="370250"/>
                        <a:pt x="289602" y="414058"/>
                      </a:cubicBezTo>
                      <a:cubicBezTo>
                        <a:pt x="268030" y="459520"/>
                        <a:pt x="239891" y="501541"/>
                        <a:pt x="206017" y="538749"/>
                      </a:cubicBezTo>
                      <a:cubicBezTo>
                        <a:pt x="129415" y="479728"/>
                        <a:pt x="63911" y="399801"/>
                        <a:pt x="28041" y="291611"/>
                      </a:cubicBezTo>
                      <a:cubicBezTo>
                        <a:pt x="10834" y="286333"/>
                        <a:pt x="-638" y="270144"/>
                        <a:pt x="27" y="252167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8" name="Freeform: Shape 1707">
                  <a:extLst>
                    <a:ext uri="{FF2B5EF4-FFF2-40B4-BE49-F238E27FC236}">
                      <a16:creationId xmlns:a16="http://schemas.microsoft.com/office/drawing/2014/main" id="{7464A66D-F7FD-43F1-96DA-278AB6917BD5}"/>
                    </a:ext>
                  </a:extLst>
                </p:cNvPr>
                <p:cNvSpPr/>
                <p:nvPr/>
              </p:nvSpPr>
              <p:spPr>
                <a:xfrm>
                  <a:off x="8700502" y="4012016"/>
                  <a:ext cx="1097278" cy="935567"/>
                </a:xfrm>
                <a:custGeom>
                  <a:avLst/>
                  <a:gdLst>
                    <a:gd name="connsiteX0" fmla="*/ 276647 w 1097278"/>
                    <a:gd name="connsiteY0" fmla="*/ 185911 h 935567"/>
                    <a:gd name="connsiteX1" fmla="*/ 694944 w 1097278"/>
                    <a:gd name="connsiteY1" fmla="*/ 1743 h 935567"/>
                    <a:gd name="connsiteX2" fmla="*/ 812943 w 1097278"/>
                    <a:gd name="connsiteY2" fmla="*/ 68701 h 935567"/>
                    <a:gd name="connsiteX3" fmla="*/ 1032939 w 1097278"/>
                    <a:gd name="connsiteY3" fmla="*/ 632512 h 935567"/>
                    <a:gd name="connsiteX4" fmla="*/ 1093581 w 1097278"/>
                    <a:gd name="connsiteY4" fmla="*/ 764643 h 935567"/>
                    <a:gd name="connsiteX5" fmla="*/ 1076124 w 1097278"/>
                    <a:gd name="connsiteY5" fmla="*/ 814519 h 935567"/>
                    <a:gd name="connsiteX6" fmla="*/ 734347 w 1097278"/>
                    <a:gd name="connsiteY6" fmla="*/ 934597 h 935567"/>
                    <a:gd name="connsiteX7" fmla="*/ 704296 w 1097278"/>
                    <a:gd name="connsiteY7" fmla="*/ 918096 h 935567"/>
                    <a:gd name="connsiteX8" fmla="*/ 703340 w 1097278"/>
                    <a:gd name="connsiteY8" fmla="*/ 911280 h 935567"/>
                    <a:gd name="connsiteX9" fmla="*/ 692533 w 1097278"/>
                    <a:gd name="connsiteY9" fmla="*/ 872335 h 935567"/>
                    <a:gd name="connsiteX10" fmla="*/ 424988 w 1097278"/>
                    <a:gd name="connsiteY10" fmla="*/ 426440 h 935567"/>
                    <a:gd name="connsiteX11" fmla="*/ 0 w 1097278"/>
                    <a:gd name="connsiteY11" fmla="*/ 587790 h 935567"/>
                    <a:gd name="connsiteX12" fmla="*/ 37117 w 1097278"/>
                    <a:gd name="connsiteY12" fmla="*/ 412558 h 935567"/>
                    <a:gd name="connsiteX13" fmla="*/ 276647 w 1097278"/>
                    <a:gd name="connsiteY13" fmla="*/ 185911 h 935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97278" h="935567">
                      <a:moveTo>
                        <a:pt x="276647" y="185911"/>
                      </a:moveTo>
                      <a:cubicBezTo>
                        <a:pt x="381014" y="73440"/>
                        <a:pt x="579813" y="22649"/>
                        <a:pt x="694944" y="1743"/>
                      </a:cubicBezTo>
                      <a:cubicBezTo>
                        <a:pt x="745319" y="-7493"/>
                        <a:pt x="795029" y="20729"/>
                        <a:pt x="812943" y="68701"/>
                      </a:cubicBezTo>
                      <a:cubicBezTo>
                        <a:pt x="864731" y="207981"/>
                        <a:pt x="1005633" y="570250"/>
                        <a:pt x="1032939" y="632512"/>
                      </a:cubicBezTo>
                      <a:cubicBezTo>
                        <a:pt x="1055342" y="683594"/>
                        <a:pt x="1078659" y="733470"/>
                        <a:pt x="1093581" y="764643"/>
                      </a:cubicBezTo>
                      <a:cubicBezTo>
                        <a:pt x="1102517" y="783222"/>
                        <a:pt x="1094703" y="805542"/>
                        <a:pt x="1076124" y="814519"/>
                      </a:cubicBezTo>
                      <a:cubicBezTo>
                        <a:pt x="979281" y="861195"/>
                        <a:pt x="805005" y="914023"/>
                        <a:pt x="734347" y="934597"/>
                      </a:cubicBezTo>
                      <a:cubicBezTo>
                        <a:pt x="721503" y="938338"/>
                        <a:pt x="708036" y="930939"/>
                        <a:pt x="704296" y="918096"/>
                      </a:cubicBezTo>
                      <a:cubicBezTo>
                        <a:pt x="703673" y="915893"/>
                        <a:pt x="703340" y="913607"/>
                        <a:pt x="703340" y="911280"/>
                      </a:cubicBezTo>
                      <a:cubicBezTo>
                        <a:pt x="703340" y="897563"/>
                        <a:pt x="699599" y="884097"/>
                        <a:pt x="692533" y="872335"/>
                      </a:cubicBezTo>
                      <a:lnTo>
                        <a:pt x="424988" y="426440"/>
                      </a:lnTo>
                      <a:cubicBezTo>
                        <a:pt x="258235" y="611356"/>
                        <a:pt x="112180" y="628273"/>
                        <a:pt x="0" y="587790"/>
                      </a:cubicBezTo>
                      <a:cubicBezTo>
                        <a:pt x="18537" y="530848"/>
                        <a:pt x="30965" y="472118"/>
                        <a:pt x="37117" y="412558"/>
                      </a:cubicBezTo>
                      <a:cubicBezTo>
                        <a:pt x="202872" y="384211"/>
                        <a:pt x="276647" y="185911"/>
                        <a:pt x="276647" y="185911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09" name="Freeform: Shape 1708">
                  <a:extLst>
                    <a:ext uri="{FF2B5EF4-FFF2-40B4-BE49-F238E27FC236}">
                      <a16:creationId xmlns:a16="http://schemas.microsoft.com/office/drawing/2014/main" id="{070CF5BB-EA69-403C-9D68-16136AC960C5}"/>
                    </a:ext>
                  </a:extLst>
                </p:cNvPr>
                <p:cNvSpPr/>
                <p:nvPr/>
              </p:nvSpPr>
              <p:spPr>
                <a:xfrm>
                  <a:off x="8416996" y="4329226"/>
                  <a:ext cx="320455" cy="270828"/>
                </a:xfrm>
                <a:custGeom>
                  <a:avLst/>
                  <a:gdLst>
                    <a:gd name="connsiteX0" fmla="*/ 0 w 320455"/>
                    <a:gd name="connsiteY0" fmla="*/ 31671 h 270828"/>
                    <a:gd name="connsiteX1" fmla="*/ 54033 w 320455"/>
                    <a:gd name="connsiteY1" fmla="*/ 0 h 270828"/>
                    <a:gd name="connsiteX2" fmla="*/ 320456 w 320455"/>
                    <a:gd name="connsiteY2" fmla="*/ 95596 h 270828"/>
                    <a:gd name="connsiteX3" fmla="*/ 283339 w 320455"/>
                    <a:gd name="connsiteY3" fmla="*/ 270829 h 270828"/>
                    <a:gd name="connsiteX4" fmla="*/ 0 w 320455"/>
                    <a:gd name="connsiteY4" fmla="*/ 31671 h 2708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0455" h="270828">
                      <a:moveTo>
                        <a:pt x="0" y="31671"/>
                      </a:moveTo>
                      <a:lnTo>
                        <a:pt x="54033" y="0"/>
                      </a:lnTo>
                      <a:cubicBezTo>
                        <a:pt x="150876" y="66502"/>
                        <a:pt x="254203" y="106736"/>
                        <a:pt x="320456" y="95596"/>
                      </a:cubicBezTo>
                      <a:cubicBezTo>
                        <a:pt x="314304" y="155157"/>
                        <a:pt x="301877" y="213887"/>
                        <a:pt x="283339" y="270829"/>
                      </a:cubicBezTo>
                      <a:cubicBezTo>
                        <a:pt x="135705" y="217295"/>
                        <a:pt x="0" y="31671"/>
                        <a:pt x="0" y="31671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10" name="Freeform: Shape 1709">
                  <a:extLst>
                    <a:ext uri="{FF2B5EF4-FFF2-40B4-BE49-F238E27FC236}">
                      <a16:creationId xmlns:a16="http://schemas.microsoft.com/office/drawing/2014/main" id="{141DE036-722C-4266-88F5-6B2E005206A2}"/>
                    </a:ext>
                  </a:extLst>
                </p:cNvPr>
                <p:cNvSpPr/>
                <p:nvPr/>
              </p:nvSpPr>
              <p:spPr>
                <a:xfrm>
                  <a:off x="8157234" y="4256062"/>
                  <a:ext cx="327552" cy="142561"/>
                </a:xfrm>
                <a:custGeom>
                  <a:avLst/>
                  <a:gdLst>
                    <a:gd name="connsiteX0" fmla="*/ 2400 w 327552"/>
                    <a:gd name="connsiteY0" fmla="*/ 116432 h 142561"/>
                    <a:gd name="connsiteX1" fmla="*/ 136069 w 327552"/>
                    <a:gd name="connsiteY1" fmla="*/ 82308 h 142561"/>
                    <a:gd name="connsiteX2" fmla="*/ 284077 w 327552"/>
                    <a:gd name="connsiteY2" fmla="*/ 1841 h 142561"/>
                    <a:gd name="connsiteX3" fmla="*/ 326596 w 327552"/>
                    <a:gd name="connsiteY3" fmla="*/ 46189 h 142561"/>
                    <a:gd name="connsiteX4" fmla="*/ 327552 w 327552"/>
                    <a:gd name="connsiteY4" fmla="*/ 50886 h 142561"/>
                    <a:gd name="connsiteX5" fmla="*/ 323396 w 327552"/>
                    <a:gd name="connsiteY5" fmla="*/ 78235 h 142561"/>
                    <a:gd name="connsiteX6" fmla="*/ 207309 w 327552"/>
                    <a:gd name="connsiteY6" fmla="*/ 129815 h 142561"/>
                    <a:gd name="connsiteX7" fmla="*/ 128047 w 327552"/>
                    <a:gd name="connsiteY7" fmla="*/ 141328 h 142561"/>
                    <a:gd name="connsiteX8" fmla="*/ 4063 w 327552"/>
                    <a:gd name="connsiteY8" fmla="*/ 124745 h 142561"/>
                    <a:gd name="connsiteX9" fmla="*/ 31 w 327552"/>
                    <a:gd name="connsiteY9" fmla="*/ 119591 h 142561"/>
                    <a:gd name="connsiteX10" fmla="*/ 2442 w 327552"/>
                    <a:gd name="connsiteY10" fmla="*/ 116099 h 142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27552" h="142561">
                      <a:moveTo>
                        <a:pt x="2400" y="116432"/>
                      </a:moveTo>
                      <a:cubicBezTo>
                        <a:pt x="36108" y="98102"/>
                        <a:pt x="136069" y="82308"/>
                        <a:pt x="136069" y="82308"/>
                      </a:cubicBezTo>
                      <a:cubicBezTo>
                        <a:pt x="136069" y="82308"/>
                        <a:pt x="250992" y="15058"/>
                        <a:pt x="284077" y="1841"/>
                      </a:cubicBezTo>
                      <a:cubicBezTo>
                        <a:pt x="311550" y="-9132"/>
                        <a:pt x="323396" y="31933"/>
                        <a:pt x="326596" y="46189"/>
                      </a:cubicBezTo>
                      <a:cubicBezTo>
                        <a:pt x="327262" y="49099"/>
                        <a:pt x="327552" y="50886"/>
                        <a:pt x="327552" y="50886"/>
                      </a:cubicBezTo>
                      <a:lnTo>
                        <a:pt x="323396" y="78235"/>
                      </a:lnTo>
                      <a:lnTo>
                        <a:pt x="207309" y="129815"/>
                      </a:lnTo>
                      <a:cubicBezTo>
                        <a:pt x="182453" y="140871"/>
                        <a:pt x="155022" y="144820"/>
                        <a:pt x="128047" y="141328"/>
                      </a:cubicBezTo>
                      <a:lnTo>
                        <a:pt x="4063" y="124745"/>
                      </a:lnTo>
                      <a:cubicBezTo>
                        <a:pt x="1527" y="124454"/>
                        <a:pt x="-260" y="122126"/>
                        <a:pt x="31" y="119591"/>
                      </a:cubicBezTo>
                      <a:cubicBezTo>
                        <a:pt x="239" y="118136"/>
                        <a:pt x="1111" y="116806"/>
                        <a:pt x="2442" y="116099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11" name="Freeform: Shape 1710">
                  <a:extLst>
                    <a:ext uri="{FF2B5EF4-FFF2-40B4-BE49-F238E27FC236}">
                      <a16:creationId xmlns:a16="http://schemas.microsoft.com/office/drawing/2014/main" id="{35B27584-58B3-41AA-9409-092511503988}"/>
                    </a:ext>
                  </a:extLst>
                </p:cNvPr>
                <p:cNvSpPr/>
                <p:nvPr/>
              </p:nvSpPr>
              <p:spPr>
                <a:xfrm>
                  <a:off x="9097310" y="3807229"/>
                  <a:ext cx="228724" cy="281375"/>
                </a:xfrm>
                <a:custGeom>
                  <a:avLst/>
                  <a:gdLst>
                    <a:gd name="connsiteX0" fmla="*/ 139779 w 228724"/>
                    <a:gd name="connsiteY0" fmla="*/ 0 h 281375"/>
                    <a:gd name="connsiteX1" fmla="*/ 228725 w 228724"/>
                    <a:gd name="connsiteY1" fmla="*/ 216962 h 281375"/>
                    <a:gd name="connsiteX2" fmla="*/ 44349 w 228724"/>
                    <a:gd name="connsiteY2" fmla="*/ 280929 h 281375"/>
                    <a:gd name="connsiteX3" fmla="*/ 0 w 228724"/>
                    <a:gd name="connsiteY3" fmla="*/ 85829 h 281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8724" h="281375">
                      <a:moveTo>
                        <a:pt x="139779" y="0"/>
                      </a:moveTo>
                      <a:lnTo>
                        <a:pt x="228725" y="216962"/>
                      </a:lnTo>
                      <a:cubicBezTo>
                        <a:pt x="228725" y="216962"/>
                        <a:pt x="126562" y="287620"/>
                        <a:pt x="44349" y="280929"/>
                      </a:cubicBezTo>
                      <a:lnTo>
                        <a:pt x="0" y="85829"/>
                      </a:ln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12" name="Freeform: Shape 1711">
                  <a:extLst>
                    <a:ext uri="{FF2B5EF4-FFF2-40B4-BE49-F238E27FC236}">
                      <a16:creationId xmlns:a16="http://schemas.microsoft.com/office/drawing/2014/main" id="{24A6E65F-FD08-4A3F-B7B7-FA6A145480F1}"/>
                    </a:ext>
                  </a:extLst>
                </p:cNvPr>
                <p:cNvSpPr/>
                <p:nvPr/>
              </p:nvSpPr>
              <p:spPr>
                <a:xfrm>
                  <a:off x="9022578" y="3646559"/>
                  <a:ext cx="219954" cy="273473"/>
                </a:xfrm>
                <a:custGeom>
                  <a:avLst/>
                  <a:gdLst>
                    <a:gd name="connsiteX0" fmla="*/ 64340 w 219954"/>
                    <a:gd name="connsiteY0" fmla="*/ 12745 h 273473"/>
                    <a:gd name="connsiteX1" fmla="*/ 0 w 219954"/>
                    <a:gd name="connsiteY1" fmla="*/ 240638 h 273473"/>
                    <a:gd name="connsiteX2" fmla="*/ 129263 w 219954"/>
                    <a:gd name="connsiteY2" fmla="*/ 273474 h 273473"/>
                    <a:gd name="connsiteX3" fmla="*/ 219955 w 219954"/>
                    <a:gd name="connsiteY3" fmla="*/ 68980 h 273473"/>
                    <a:gd name="connsiteX4" fmla="*/ 64340 w 219954"/>
                    <a:gd name="connsiteY4" fmla="*/ 12745 h 273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9954" h="273473">
                      <a:moveTo>
                        <a:pt x="64340" y="12745"/>
                      </a:moveTo>
                      <a:cubicBezTo>
                        <a:pt x="62304" y="15654"/>
                        <a:pt x="0" y="240638"/>
                        <a:pt x="0" y="240638"/>
                      </a:cubicBezTo>
                      <a:lnTo>
                        <a:pt x="129263" y="273474"/>
                      </a:lnTo>
                      <a:lnTo>
                        <a:pt x="219955" y="68980"/>
                      </a:lnTo>
                      <a:cubicBezTo>
                        <a:pt x="219955" y="68980"/>
                        <a:pt x="98423" y="-35552"/>
                        <a:pt x="64340" y="12745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13" name="Freeform: Shape 1712">
                  <a:extLst>
                    <a:ext uri="{FF2B5EF4-FFF2-40B4-BE49-F238E27FC236}">
                      <a16:creationId xmlns:a16="http://schemas.microsoft.com/office/drawing/2014/main" id="{BD33E9E5-12EB-48BB-8547-79997016FFFD}"/>
                    </a:ext>
                  </a:extLst>
                </p:cNvPr>
                <p:cNvSpPr/>
                <p:nvPr/>
              </p:nvSpPr>
              <p:spPr>
                <a:xfrm>
                  <a:off x="9001357" y="3559195"/>
                  <a:ext cx="306403" cy="420535"/>
                </a:xfrm>
                <a:custGeom>
                  <a:avLst/>
                  <a:gdLst>
                    <a:gd name="connsiteX0" fmla="*/ 192504 w 306403"/>
                    <a:gd name="connsiteY0" fmla="*/ 187434 h 420535"/>
                    <a:gd name="connsiteX1" fmla="*/ 153185 w 306403"/>
                    <a:gd name="connsiteY1" fmla="*/ 298825 h 420535"/>
                    <a:gd name="connsiteX2" fmla="*/ 151149 w 306403"/>
                    <a:gd name="connsiteY2" fmla="*/ 302981 h 420535"/>
                    <a:gd name="connsiteX3" fmla="*/ 101272 w 306403"/>
                    <a:gd name="connsiteY3" fmla="*/ 312998 h 420535"/>
                    <a:gd name="connsiteX4" fmla="*/ 40590 w 306403"/>
                    <a:gd name="connsiteY4" fmla="*/ 271434 h 420535"/>
                    <a:gd name="connsiteX5" fmla="*/ 21803 w 306403"/>
                    <a:gd name="connsiteY5" fmla="*/ 283280 h 420535"/>
                    <a:gd name="connsiteX6" fmla="*/ 65 w 306403"/>
                    <a:gd name="connsiteY6" fmla="*/ 391844 h 420535"/>
                    <a:gd name="connsiteX7" fmla="*/ 13449 w 306403"/>
                    <a:gd name="connsiteY7" fmla="*/ 409592 h 420535"/>
                    <a:gd name="connsiteX8" fmla="*/ 136892 w 306403"/>
                    <a:gd name="connsiteY8" fmla="*/ 419858 h 420535"/>
                    <a:gd name="connsiteX9" fmla="*/ 150817 w 306403"/>
                    <a:gd name="connsiteY9" fmla="*/ 410257 h 420535"/>
                    <a:gd name="connsiteX10" fmla="*/ 214866 w 306403"/>
                    <a:gd name="connsiteY10" fmla="*/ 280620 h 420535"/>
                    <a:gd name="connsiteX11" fmla="*/ 273845 w 306403"/>
                    <a:gd name="connsiteY11" fmla="*/ 262540 h 420535"/>
                    <a:gd name="connsiteX12" fmla="*/ 286023 w 306403"/>
                    <a:gd name="connsiteY12" fmla="*/ 258383 h 420535"/>
                    <a:gd name="connsiteX13" fmla="*/ 288683 w 306403"/>
                    <a:gd name="connsiteY13" fmla="*/ 189762 h 420535"/>
                    <a:gd name="connsiteX14" fmla="*/ 288766 w 306403"/>
                    <a:gd name="connsiteY14" fmla="*/ 166249 h 420535"/>
                    <a:gd name="connsiteX15" fmla="*/ 289057 w 306403"/>
                    <a:gd name="connsiteY15" fmla="*/ 165987 h 420535"/>
                    <a:gd name="connsiteX16" fmla="*/ 294585 w 306403"/>
                    <a:gd name="connsiteY16" fmla="*/ 102312 h 420535"/>
                    <a:gd name="connsiteX17" fmla="*/ 222431 w 306403"/>
                    <a:gd name="connsiteY17" fmla="*/ 85063 h 420535"/>
                    <a:gd name="connsiteX18" fmla="*/ 202563 w 306403"/>
                    <a:gd name="connsiteY18" fmla="*/ 77706 h 420535"/>
                    <a:gd name="connsiteX19" fmla="*/ 189096 w 306403"/>
                    <a:gd name="connsiteY19" fmla="*/ 71430 h 420535"/>
                    <a:gd name="connsiteX20" fmla="*/ 171764 w 306403"/>
                    <a:gd name="connsiteY20" fmla="*/ 56259 h 420535"/>
                    <a:gd name="connsiteX21" fmla="*/ 171723 w 306403"/>
                    <a:gd name="connsiteY21" fmla="*/ 54805 h 420535"/>
                    <a:gd name="connsiteX22" fmla="*/ 133692 w 306403"/>
                    <a:gd name="connsiteY22" fmla="*/ 3391 h 420535"/>
                    <a:gd name="connsiteX23" fmla="*/ 38553 w 306403"/>
                    <a:gd name="connsiteY23" fmla="*/ 81031 h 420535"/>
                    <a:gd name="connsiteX24" fmla="*/ 134149 w 306403"/>
                    <a:gd name="connsiteY24" fmla="*/ 134565 h 420535"/>
                    <a:gd name="connsiteX25" fmla="*/ 190967 w 306403"/>
                    <a:gd name="connsiteY25" fmla="*/ 173427 h 420535"/>
                    <a:gd name="connsiteX26" fmla="*/ 192504 w 306403"/>
                    <a:gd name="connsiteY26" fmla="*/ 187434 h 420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06403" h="420535">
                      <a:moveTo>
                        <a:pt x="192504" y="187434"/>
                      </a:moveTo>
                      <a:lnTo>
                        <a:pt x="153185" y="298825"/>
                      </a:lnTo>
                      <a:cubicBezTo>
                        <a:pt x="152687" y="300300"/>
                        <a:pt x="152022" y="301697"/>
                        <a:pt x="151149" y="302981"/>
                      </a:cubicBezTo>
                      <a:cubicBezTo>
                        <a:pt x="145787" y="310546"/>
                        <a:pt x="125546" y="335276"/>
                        <a:pt x="101272" y="312998"/>
                      </a:cubicBezTo>
                      <a:cubicBezTo>
                        <a:pt x="79452" y="292798"/>
                        <a:pt x="59252" y="274635"/>
                        <a:pt x="40590" y="271434"/>
                      </a:cubicBezTo>
                      <a:cubicBezTo>
                        <a:pt x="32235" y="270009"/>
                        <a:pt x="24130" y="275113"/>
                        <a:pt x="21803" y="283280"/>
                      </a:cubicBezTo>
                      <a:cubicBezTo>
                        <a:pt x="11744" y="318850"/>
                        <a:pt x="4471" y="355148"/>
                        <a:pt x="65" y="391844"/>
                      </a:cubicBezTo>
                      <a:cubicBezTo>
                        <a:pt x="-683" y="400311"/>
                        <a:pt x="5094" y="407967"/>
                        <a:pt x="13449" y="409592"/>
                      </a:cubicBezTo>
                      <a:cubicBezTo>
                        <a:pt x="38677" y="414372"/>
                        <a:pt x="92419" y="423017"/>
                        <a:pt x="136892" y="419858"/>
                      </a:cubicBezTo>
                      <a:cubicBezTo>
                        <a:pt x="142919" y="419434"/>
                        <a:pt x="148281" y="415756"/>
                        <a:pt x="150817" y="410257"/>
                      </a:cubicBezTo>
                      <a:cubicBezTo>
                        <a:pt x="163286" y="383365"/>
                        <a:pt x="200693" y="301734"/>
                        <a:pt x="214866" y="280620"/>
                      </a:cubicBezTo>
                      <a:cubicBezTo>
                        <a:pt x="228042" y="260794"/>
                        <a:pt x="260337" y="261334"/>
                        <a:pt x="273845" y="262540"/>
                      </a:cubicBezTo>
                      <a:cubicBezTo>
                        <a:pt x="278292" y="262906"/>
                        <a:pt x="282698" y="261397"/>
                        <a:pt x="286023" y="258383"/>
                      </a:cubicBezTo>
                      <a:cubicBezTo>
                        <a:pt x="297869" y="248034"/>
                        <a:pt x="320396" y="221516"/>
                        <a:pt x="288683" y="189762"/>
                      </a:cubicBezTo>
                      <a:cubicBezTo>
                        <a:pt x="282199" y="183241"/>
                        <a:pt x="282282" y="172712"/>
                        <a:pt x="288766" y="166249"/>
                      </a:cubicBezTo>
                      <a:cubicBezTo>
                        <a:pt x="288891" y="166162"/>
                        <a:pt x="288974" y="166075"/>
                        <a:pt x="289057" y="165987"/>
                      </a:cubicBezTo>
                      <a:cubicBezTo>
                        <a:pt x="302690" y="153186"/>
                        <a:pt x="317279" y="130492"/>
                        <a:pt x="294585" y="102312"/>
                      </a:cubicBezTo>
                      <a:cubicBezTo>
                        <a:pt x="271891" y="74132"/>
                        <a:pt x="241051" y="78247"/>
                        <a:pt x="222431" y="85063"/>
                      </a:cubicBezTo>
                      <a:cubicBezTo>
                        <a:pt x="214907" y="87694"/>
                        <a:pt x="206553" y="84606"/>
                        <a:pt x="202563" y="77706"/>
                      </a:cubicBezTo>
                      <a:cubicBezTo>
                        <a:pt x="199820" y="73030"/>
                        <a:pt x="194458" y="70536"/>
                        <a:pt x="189096" y="71430"/>
                      </a:cubicBezTo>
                      <a:cubicBezTo>
                        <a:pt x="180119" y="72029"/>
                        <a:pt x="172346" y="65237"/>
                        <a:pt x="171764" y="56259"/>
                      </a:cubicBezTo>
                      <a:cubicBezTo>
                        <a:pt x="171723" y="55773"/>
                        <a:pt x="171723" y="55291"/>
                        <a:pt x="171723" y="54805"/>
                      </a:cubicBezTo>
                      <a:cubicBezTo>
                        <a:pt x="172055" y="36434"/>
                        <a:pt x="165488" y="13241"/>
                        <a:pt x="133692" y="3391"/>
                      </a:cubicBezTo>
                      <a:cubicBezTo>
                        <a:pt x="77249" y="-14191"/>
                        <a:pt x="42252" y="40341"/>
                        <a:pt x="38553" y="81031"/>
                      </a:cubicBezTo>
                      <a:cubicBezTo>
                        <a:pt x="34854" y="121722"/>
                        <a:pt x="97365" y="137308"/>
                        <a:pt x="134149" y="134565"/>
                      </a:cubicBezTo>
                      <a:cubicBezTo>
                        <a:pt x="161997" y="132487"/>
                        <a:pt x="182654" y="160085"/>
                        <a:pt x="190967" y="173427"/>
                      </a:cubicBezTo>
                      <a:cubicBezTo>
                        <a:pt x="193585" y="177621"/>
                        <a:pt x="194126" y="182775"/>
                        <a:pt x="192504" y="187434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1714" name="Freeform: Shape 1713">
                  <a:extLst>
                    <a:ext uri="{FF2B5EF4-FFF2-40B4-BE49-F238E27FC236}">
                      <a16:creationId xmlns:a16="http://schemas.microsoft.com/office/drawing/2014/main" id="{B31441DC-010C-4904-AF45-4C98EDE31B53}"/>
                    </a:ext>
                  </a:extLst>
                </p:cNvPr>
                <p:cNvSpPr/>
                <p:nvPr/>
              </p:nvSpPr>
              <p:spPr>
                <a:xfrm>
                  <a:off x="9201717" y="3805531"/>
                  <a:ext cx="79585" cy="86841"/>
                </a:xfrm>
                <a:custGeom>
                  <a:avLst/>
                  <a:gdLst>
                    <a:gd name="connsiteX0" fmla="*/ 0 w 79585"/>
                    <a:gd name="connsiteY0" fmla="*/ 74434 h 86841"/>
                    <a:gd name="connsiteX1" fmla="*/ 38488 w 79585"/>
                    <a:gd name="connsiteY1" fmla="*/ 325 h 86841"/>
                    <a:gd name="connsiteX2" fmla="*/ 67292 w 79585"/>
                    <a:gd name="connsiteY2" fmla="*/ 60676 h 86841"/>
                    <a:gd name="connsiteX3" fmla="*/ 0 w 79585"/>
                    <a:gd name="connsiteY3" fmla="*/ 74434 h 86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9585" h="86841">
                      <a:moveTo>
                        <a:pt x="0" y="74434"/>
                      </a:moveTo>
                      <a:cubicBezTo>
                        <a:pt x="0" y="74434"/>
                        <a:pt x="9103" y="3775"/>
                        <a:pt x="38488" y="325"/>
                      </a:cubicBezTo>
                      <a:cubicBezTo>
                        <a:pt x="67874" y="-3124"/>
                        <a:pt x="96677" y="21107"/>
                        <a:pt x="67292" y="60676"/>
                      </a:cubicBezTo>
                      <a:cubicBezTo>
                        <a:pt x="30924" y="110012"/>
                        <a:pt x="0" y="74434"/>
                        <a:pt x="0" y="74434"/>
                      </a:cubicBezTo>
                      <a:close/>
                    </a:path>
                  </a:pathLst>
                </a:custGeom>
                <a:solidFill>
                  <a:srgbClr val="FF928E"/>
                </a:solidFill>
                <a:ln w="4156" cap="flat">
                  <a:noFill/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sp>
              <p:nvSpPr>
                <p:cNvPr id="416" name="Freeform: Shape 415">
                  <a:extLst>
                    <a:ext uri="{FF2B5EF4-FFF2-40B4-BE49-F238E27FC236}">
                      <a16:creationId xmlns:a16="http://schemas.microsoft.com/office/drawing/2014/main" id="{728A1012-9FA6-41C0-A4D5-45FFB736F3A7}"/>
                    </a:ext>
                  </a:extLst>
                </p:cNvPr>
                <p:cNvSpPr/>
                <p:nvPr/>
              </p:nvSpPr>
              <p:spPr>
                <a:xfrm rot="18900000">
                  <a:off x="6908498" y="2348337"/>
                  <a:ext cx="2049420" cy="2049420"/>
                </a:xfrm>
                <a:custGeom>
                  <a:avLst/>
                  <a:gdLst>
                    <a:gd name="connsiteX0" fmla="*/ 2049420 w 2049420"/>
                    <a:gd name="connsiteY0" fmla="*/ 1024710 h 2049420"/>
                    <a:gd name="connsiteX1" fmla="*/ 1024710 w 2049420"/>
                    <a:gd name="connsiteY1" fmla="*/ 2049420 h 2049420"/>
                    <a:gd name="connsiteX2" fmla="*/ -1 w 2049420"/>
                    <a:gd name="connsiteY2" fmla="*/ 1024710 h 2049420"/>
                    <a:gd name="connsiteX3" fmla="*/ 1024710 w 2049420"/>
                    <a:gd name="connsiteY3" fmla="*/ 0 h 2049420"/>
                    <a:gd name="connsiteX4" fmla="*/ 2049420 w 2049420"/>
                    <a:gd name="connsiteY4" fmla="*/ 1024710 h 2049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49420" h="2049420">
                      <a:moveTo>
                        <a:pt x="2049420" y="1024710"/>
                      </a:moveTo>
                      <a:cubicBezTo>
                        <a:pt x="2049420" y="1590642"/>
                        <a:pt x="1590642" y="2049420"/>
                        <a:pt x="1024710" y="2049420"/>
                      </a:cubicBezTo>
                      <a:cubicBezTo>
                        <a:pt x="458778" y="2049420"/>
                        <a:pt x="-1" y="1590642"/>
                        <a:pt x="-1" y="1024710"/>
                      </a:cubicBezTo>
                      <a:cubicBezTo>
                        <a:pt x="-1" y="458778"/>
                        <a:pt x="458778" y="0"/>
                        <a:pt x="1024710" y="0"/>
                      </a:cubicBezTo>
                      <a:cubicBezTo>
                        <a:pt x="1590642" y="0"/>
                        <a:pt x="2049420" y="458778"/>
                        <a:pt x="2049420" y="1024710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4156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sz="1350"/>
                </a:p>
              </p:txBody>
            </p:sp>
            <p:grpSp>
              <p:nvGrpSpPr>
                <p:cNvPr id="417" name="Graphic 2">
                  <a:extLst>
                    <a:ext uri="{FF2B5EF4-FFF2-40B4-BE49-F238E27FC236}">
                      <a16:creationId xmlns:a16="http://schemas.microsoft.com/office/drawing/2014/main" id="{93063449-3E93-44D5-993D-399B8E490E14}"/>
                    </a:ext>
                  </a:extLst>
                </p:cNvPr>
                <p:cNvGrpSpPr/>
                <p:nvPr/>
              </p:nvGrpSpPr>
              <p:grpSpPr>
                <a:xfrm>
                  <a:off x="6941196" y="2381056"/>
                  <a:ext cx="1983998" cy="1984002"/>
                  <a:chOff x="6941196" y="2381056"/>
                  <a:chExt cx="1983998" cy="1984002"/>
                </a:xfrm>
              </p:grpSpPr>
              <p:sp>
                <p:nvSpPr>
                  <p:cNvPr id="418" name="Freeform: Shape 417">
                    <a:extLst>
                      <a:ext uri="{FF2B5EF4-FFF2-40B4-BE49-F238E27FC236}">
                        <a16:creationId xmlns:a16="http://schemas.microsoft.com/office/drawing/2014/main" id="{3137C9DA-679F-4055-9476-4D26020DC5EC}"/>
                      </a:ext>
                    </a:extLst>
                  </p:cNvPr>
                  <p:cNvSpPr/>
                  <p:nvPr/>
                </p:nvSpPr>
                <p:spPr>
                  <a:xfrm>
                    <a:off x="6941196" y="2381056"/>
                    <a:ext cx="1983998" cy="1984002"/>
                  </a:xfrm>
                  <a:custGeom>
                    <a:avLst/>
                    <a:gdLst>
                      <a:gd name="connsiteX0" fmla="*/ 992041 w 1983998"/>
                      <a:gd name="connsiteY0" fmla="*/ 1983999 h 1984002"/>
                      <a:gd name="connsiteX1" fmla="*/ 0 w 1983998"/>
                      <a:gd name="connsiteY1" fmla="*/ 992041 h 1984002"/>
                      <a:gd name="connsiteX2" fmla="*/ 991958 w 1983998"/>
                      <a:gd name="connsiteY2" fmla="*/ 0 h 1984002"/>
                      <a:gd name="connsiteX3" fmla="*/ 1983999 w 1983998"/>
                      <a:gd name="connsiteY3" fmla="*/ 991958 h 1984002"/>
                      <a:gd name="connsiteX4" fmla="*/ 1693469 w 1983998"/>
                      <a:gd name="connsiteY4" fmla="*/ 1693427 h 1984002"/>
                      <a:gd name="connsiteX5" fmla="*/ 992041 w 1983998"/>
                      <a:gd name="connsiteY5" fmla="*/ 1983999 h 1984002"/>
                      <a:gd name="connsiteX6" fmla="*/ 992041 w 1983998"/>
                      <a:gd name="connsiteY6" fmla="*/ 8354 h 1984002"/>
                      <a:gd name="connsiteX7" fmla="*/ 8354 w 1983998"/>
                      <a:gd name="connsiteY7" fmla="*/ 991999 h 1984002"/>
                      <a:gd name="connsiteX8" fmla="*/ 992041 w 1983998"/>
                      <a:gd name="connsiteY8" fmla="*/ 1975686 h 1984002"/>
                      <a:gd name="connsiteX9" fmla="*/ 1975686 w 1983998"/>
                      <a:gd name="connsiteY9" fmla="*/ 991999 h 1984002"/>
                      <a:gd name="connsiteX10" fmla="*/ 992041 w 1983998"/>
                      <a:gd name="connsiteY10" fmla="*/ 8354 h 1984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83998" h="1984002">
                        <a:moveTo>
                          <a:pt x="992041" y="1983999"/>
                        </a:moveTo>
                        <a:cubicBezTo>
                          <a:pt x="444191" y="1984040"/>
                          <a:pt x="42" y="1539908"/>
                          <a:pt x="0" y="992041"/>
                        </a:cubicBezTo>
                        <a:cubicBezTo>
                          <a:pt x="-42" y="444178"/>
                          <a:pt x="444107" y="25"/>
                          <a:pt x="991958" y="0"/>
                        </a:cubicBezTo>
                        <a:cubicBezTo>
                          <a:pt x="1539808" y="-25"/>
                          <a:pt x="1983957" y="444091"/>
                          <a:pt x="1983999" y="991958"/>
                        </a:cubicBezTo>
                        <a:cubicBezTo>
                          <a:pt x="1983999" y="1255056"/>
                          <a:pt x="1879508" y="1507384"/>
                          <a:pt x="1693469" y="1693427"/>
                        </a:cubicBezTo>
                        <a:cubicBezTo>
                          <a:pt x="1507846" y="1880089"/>
                          <a:pt x="1255263" y="1984705"/>
                          <a:pt x="992041" y="1983999"/>
                        </a:cubicBezTo>
                        <a:close/>
                        <a:moveTo>
                          <a:pt x="992041" y="8354"/>
                        </a:moveTo>
                        <a:cubicBezTo>
                          <a:pt x="449636" y="8354"/>
                          <a:pt x="8354" y="449635"/>
                          <a:pt x="8354" y="991999"/>
                        </a:cubicBezTo>
                        <a:cubicBezTo>
                          <a:pt x="8354" y="1534363"/>
                          <a:pt x="449636" y="1975686"/>
                          <a:pt x="992041" y="1975686"/>
                        </a:cubicBezTo>
                        <a:cubicBezTo>
                          <a:pt x="1534447" y="1975686"/>
                          <a:pt x="1975686" y="1534239"/>
                          <a:pt x="1975686" y="991999"/>
                        </a:cubicBezTo>
                        <a:cubicBezTo>
                          <a:pt x="1975686" y="449760"/>
                          <a:pt x="1534322" y="8354"/>
                          <a:pt x="992041" y="835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4156" cap="flat">
                    <a:noFill/>
                    <a:prstDash val="solid"/>
                    <a:miter/>
                  </a:ln>
                </p:spPr>
                <p:txBody>
  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sz="1350"/>
                  </a:p>
                </p:txBody>
              </p:sp>
              <p:sp>
                <p:nvSpPr>
                  <p:cNvPr id="419" name="Freeform: Shape 418">
                    <a:extLst>
                      <a:ext uri="{FF2B5EF4-FFF2-40B4-BE49-F238E27FC236}">
                        <a16:creationId xmlns:a16="http://schemas.microsoft.com/office/drawing/2014/main" id="{BE334EE1-0DA4-4BC1-BFCA-607CE3698C9B}"/>
                      </a:ext>
                    </a:extLst>
                  </p:cNvPr>
                  <p:cNvSpPr/>
                  <p:nvPr/>
                </p:nvSpPr>
                <p:spPr>
                  <a:xfrm>
                    <a:off x="7100800" y="2540660"/>
                    <a:ext cx="1664831" cy="1664831"/>
                  </a:xfrm>
                  <a:custGeom>
                    <a:avLst/>
                    <a:gdLst>
                      <a:gd name="connsiteX0" fmla="*/ 0 w 1664831"/>
                      <a:gd name="connsiteY0" fmla="*/ 832395 h 1664831"/>
                      <a:gd name="connsiteX1" fmla="*/ 832437 w 1664831"/>
                      <a:gd name="connsiteY1" fmla="*/ 0 h 1664831"/>
                      <a:gd name="connsiteX2" fmla="*/ 1664832 w 1664831"/>
                      <a:gd name="connsiteY2" fmla="*/ 832395 h 1664831"/>
                      <a:gd name="connsiteX3" fmla="*/ 832437 w 1664831"/>
                      <a:gd name="connsiteY3" fmla="*/ 1664831 h 1664831"/>
                      <a:gd name="connsiteX4" fmla="*/ 0 w 1664831"/>
                      <a:gd name="connsiteY4" fmla="*/ 832395 h 1664831"/>
                      <a:gd name="connsiteX5" fmla="*/ 51331 w 1664831"/>
                      <a:gd name="connsiteY5" fmla="*/ 832395 h 1664831"/>
                      <a:gd name="connsiteX6" fmla="*/ 832437 w 1664831"/>
                      <a:gd name="connsiteY6" fmla="*/ 1613500 h 1664831"/>
                      <a:gd name="connsiteX7" fmla="*/ 1613542 w 1664831"/>
                      <a:gd name="connsiteY7" fmla="*/ 832395 h 1664831"/>
                      <a:gd name="connsiteX8" fmla="*/ 832437 w 1664831"/>
                      <a:gd name="connsiteY8" fmla="*/ 51289 h 1664831"/>
                      <a:gd name="connsiteX9" fmla="*/ 51331 w 1664831"/>
                      <a:gd name="connsiteY9" fmla="*/ 832395 h 1664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664831" h="1664831">
                        <a:moveTo>
                          <a:pt x="0" y="832395"/>
                        </a:moveTo>
                        <a:cubicBezTo>
                          <a:pt x="0" y="373408"/>
                          <a:pt x="373449" y="0"/>
                          <a:pt x="832437" y="0"/>
                        </a:cubicBezTo>
                        <a:cubicBezTo>
                          <a:pt x="1291424" y="0"/>
                          <a:pt x="1664832" y="373408"/>
                          <a:pt x="1664832" y="832395"/>
                        </a:cubicBezTo>
                        <a:cubicBezTo>
                          <a:pt x="1664832" y="1291382"/>
                          <a:pt x="1291424" y="1664831"/>
                          <a:pt x="832437" y="1664831"/>
                        </a:cubicBezTo>
                        <a:cubicBezTo>
                          <a:pt x="373449" y="1664831"/>
                          <a:pt x="0" y="1291507"/>
                          <a:pt x="0" y="832395"/>
                        </a:cubicBezTo>
                        <a:close/>
                        <a:moveTo>
                          <a:pt x="51331" y="832395"/>
                        </a:moveTo>
                        <a:cubicBezTo>
                          <a:pt x="51331" y="1263119"/>
                          <a:pt x="401713" y="1613500"/>
                          <a:pt x="832437" y="1613500"/>
                        </a:cubicBezTo>
                        <a:cubicBezTo>
                          <a:pt x="1263161" y="1613500"/>
                          <a:pt x="1613542" y="1263119"/>
                          <a:pt x="1613542" y="832395"/>
                        </a:cubicBezTo>
                        <a:cubicBezTo>
                          <a:pt x="1613542" y="401671"/>
                          <a:pt x="1263119" y="51289"/>
                          <a:pt x="832437" y="51289"/>
                        </a:cubicBezTo>
                        <a:cubicBezTo>
                          <a:pt x="401754" y="51289"/>
                          <a:pt x="51331" y="401712"/>
                          <a:pt x="51331" y="8323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4156" cap="flat">
                    <a:noFill/>
                    <a:prstDash val="solid"/>
                    <a:miter/>
                  </a:ln>
                </p:spPr>
                <p:txBody>
  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sz="1350"/>
                  </a:p>
                </p:txBody>
              </p:sp>
              <p:sp>
                <p:nvSpPr>
                  <p:cNvPr id="420" name="Freeform: Shape 419">
                    <a:extLst>
                      <a:ext uri="{FF2B5EF4-FFF2-40B4-BE49-F238E27FC236}">
                        <a16:creationId xmlns:a16="http://schemas.microsoft.com/office/drawing/2014/main" id="{EE7FC7D4-A75C-42D3-9E2D-706DBA736720}"/>
                      </a:ext>
                    </a:extLst>
                  </p:cNvPr>
                  <p:cNvSpPr/>
                  <p:nvPr/>
                </p:nvSpPr>
                <p:spPr>
                  <a:xfrm>
                    <a:off x="7589589" y="2865646"/>
                    <a:ext cx="697396" cy="1015067"/>
                  </a:xfrm>
                  <a:custGeom>
                    <a:avLst/>
                    <a:gdLst>
                      <a:gd name="connsiteX0" fmla="*/ 594734 w 697396"/>
                      <a:gd name="connsiteY0" fmla="*/ 371870 h 1015067"/>
                      <a:gd name="connsiteX1" fmla="*/ 677030 w 697396"/>
                      <a:gd name="connsiteY1" fmla="*/ 371870 h 1015067"/>
                      <a:gd name="connsiteX2" fmla="*/ 697313 w 697396"/>
                      <a:gd name="connsiteY2" fmla="*/ 353997 h 1015067"/>
                      <a:gd name="connsiteX3" fmla="*/ 697313 w 697396"/>
                      <a:gd name="connsiteY3" fmla="*/ 297887 h 1015067"/>
                      <a:gd name="connsiteX4" fmla="*/ 505455 w 697396"/>
                      <a:gd name="connsiteY4" fmla="*/ 108024 h 1015067"/>
                      <a:gd name="connsiteX5" fmla="*/ 395769 w 697396"/>
                      <a:gd name="connsiteY5" fmla="*/ 108024 h 1015067"/>
                      <a:gd name="connsiteX6" fmla="*/ 395769 w 697396"/>
                      <a:gd name="connsiteY6" fmla="*/ 31339 h 1015067"/>
                      <a:gd name="connsiteX7" fmla="*/ 348677 w 697396"/>
                      <a:gd name="connsiteY7" fmla="*/ 0 h 1015067"/>
                      <a:gd name="connsiteX8" fmla="*/ 301544 w 697396"/>
                      <a:gd name="connsiteY8" fmla="*/ 31339 h 1015067"/>
                      <a:gd name="connsiteX9" fmla="*/ 301544 w 697396"/>
                      <a:gd name="connsiteY9" fmla="*/ 108065 h 1015067"/>
                      <a:gd name="connsiteX10" fmla="*/ 193271 w 697396"/>
                      <a:gd name="connsiteY10" fmla="*/ 108065 h 1015067"/>
                      <a:gd name="connsiteX11" fmla="*/ 0 w 697396"/>
                      <a:gd name="connsiteY11" fmla="*/ 297928 h 1015067"/>
                      <a:gd name="connsiteX12" fmla="*/ 0 w 697396"/>
                      <a:gd name="connsiteY12" fmla="*/ 400549 h 1015067"/>
                      <a:gd name="connsiteX13" fmla="*/ 193271 w 697396"/>
                      <a:gd name="connsiteY13" fmla="*/ 588666 h 1015067"/>
                      <a:gd name="connsiteX14" fmla="*/ 301544 w 697396"/>
                      <a:gd name="connsiteY14" fmla="*/ 588666 h 1015067"/>
                      <a:gd name="connsiteX15" fmla="*/ 301544 w 697396"/>
                      <a:gd name="connsiteY15" fmla="*/ 786550 h 1015067"/>
                      <a:gd name="connsiteX16" fmla="*/ 193271 w 697396"/>
                      <a:gd name="connsiteY16" fmla="*/ 786550 h 1015067"/>
                      <a:gd name="connsiteX17" fmla="*/ 122613 w 697396"/>
                      <a:gd name="connsiteY17" fmla="*/ 717309 h 1015067"/>
                      <a:gd name="connsiteX18" fmla="*/ 122613 w 697396"/>
                      <a:gd name="connsiteY18" fmla="*/ 717014 h 1015067"/>
                      <a:gd name="connsiteX19" fmla="*/ 122613 w 697396"/>
                      <a:gd name="connsiteY19" fmla="*/ 712151 h 1015067"/>
                      <a:gd name="connsiteX20" fmla="*/ 104076 w 697396"/>
                      <a:gd name="connsiteY20" fmla="*/ 692284 h 1015067"/>
                      <a:gd name="connsiteX21" fmla="*/ 21738 w 697396"/>
                      <a:gd name="connsiteY21" fmla="*/ 692284 h 1015067"/>
                      <a:gd name="connsiteX22" fmla="*/ 83 w 697396"/>
                      <a:gd name="connsiteY22" fmla="*/ 712151 h 1015067"/>
                      <a:gd name="connsiteX23" fmla="*/ 83 w 697396"/>
                      <a:gd name="connsiteY23" fmla="*/ 717139 h 1015067"/>
                      <a:gd name="connsiteX24" fmla="*/ 193354 w 697396"/>
                      <a:gd name="connsiteY24" fmla="*/ 899728 h 1015067"/>
                      <a:gd name="connsiteX25" fmla="*/ 301628 w 697396"/>
                      <a:gd name="connsiteY25" fmla="*/ 899728 h 1015067"/>
                      <a:gd name="connsiteX26" fmla="*/ 301628 w 697396"/>
                      <a:gd name="connsiteY26" fmla="*/ 983687 h 1015067"/>
                      <a:gd name="connsiteX27" fmla="*/ 348761 w 697396"/>
                      <a:gd name="connsiteY27" fmla="*/ 1015067 h 1015067"/>
                      <a:gd name="connsiteX28" fmla="*/ 395852 w 697396"/>
                      <a:gd name="connsiteY28" fmla="*/ 983687 h 1015067"/>
                      <a:gd name="connsiteX29" fmla="*/ 395852 w 697396"/>
                      <a:gd name="connsiteY29" fmla="*/ 899728 h 1015067"/>
                      <a:gd name="connsiteX30" fmla="*/ 505539 w 697396"/>
                      <a:gd name="connsiteY30" fmla="*/ 899728 h 1015067"/>
                      <a:gd name="connsiteX31" fmla="*/ 697396 w 697396"/>
                      <a:gd name="connsiteY31" fmla="*/ 717139 h 1015067"/>
                      <a:gd name="connsiteX32" fmla="*/ 697396 w 697396"/>
                      <a:gd name="connsiteY32" fmla="*/ 661361 h 1015067"/>
                      <a:gd name="connsiteX33" fmla="*/ 505539 w 697396"/>
                      <a:gd name="connsiteY33" fmla="*/ 466011 h 1015067"/>
                      <a:gd name="connsiteX34" fmla="*/ 395852 w 697396"/>
                      <a:gd name="connsiteY34" fmla="*/ 466011 h 1015067"/>
                      <a:gd name="connsiteX35" fmla="*/ 395852 w 697396"/>
                      <a:gd name="connsiteY35" fmla="*/ 221118 h 1015067"/>
                      <a:gd name="connsiteX36" fmla="*/ 505539 w 697396"/>
                      <a:gd name="connsiteY36" fmla="*/ 221118 h 1015067"/>
                      <a:gd name="connsiteX37" fmla="*/ 574909 w 697396"/>
                      <a:gd name="connsiteY37" fmla="*/ 297887 h 1015067"/>
                      <a:gd name="connsiteX38" fmla="*/ 574909 w 697396"/>
                      <a:gd name="connsiteY38" fmla="*/ 353997 h 1015067"/>
                      <a:gd name="connsiteX39" fmla="*/ 594734 w 697396"/>
                      <a:gd name="connsiteY39" fmla="*/ 371870 h 1015067"/>
                      <a:gd name="connsiteX40" fmla="*/ 505455 w 697396"/>
                      <a:gd name="connsiteY40" fmla="*/ 588624 h 1015067"/>
                      <a:gd name="connsiteX41" fmla="*/ 574825 w 697396"/>
                      <a:gd name="connsiteY41" fmla="*/ 661361 h 1015067"/>
                      <a:gd name="connsiteX42" fmla="*/ 574825 w 697396"/>
                      <a:gd name="connsiteY42" fmla="*/ 717139 h 1015067"/>
                      <a:gd name="connsiteX43" fmla="*/ 506869 w 697396"/>
                      <a:gd name="connsiteY43" fmla="*/ 786675 h 1015067"/>
                      <a:gd name="connsiteX44" fmla="*/ 505455 w 697396"/>
                      <a:gd name="connsiteY44" fmla="*/ 786675 h 1015067"/>
                      <a:gd name="connsiteX45" fmla="*/ 395769 w 697396"/>
                      <a:gd name="connsiteY45" fmla="*/ 786675 h 1015067"/>
                      <a:gd name="connsiteX46" fmla="*/ 395769 w 697396"/>
                      <a:gd name="connsiteY46" fmla="*/ 588624 h 1015067"/>
                      <a:gd name="connsiteX47" fmla="*/ 301544 w 697396"/>
                      <a:gd name="connsiteY47" fmla="*/ 466094 h 1015067"/>
                      <a:gd name="connsiteX48" fmla="*/ 193271 w 697396"/>
                      <a:gd name="connsiteY48" fmla="*/ 466094 h 1015067"/>
                      <a:gd name="connsiteX49" fmla="*/ 122613 w 697396"/>
                      <a:gd name="connsiteY49" fmla="*/ 400507 h 1015067"/>
                      <a:gd name="connsiteX50" fmla="*/ 122613 w 697396"/>
                      <a:gd name="connsiteY50" fmla="*/ 297887 h 1015067"/>
                      <a:gd name="connsiteX51" fmla="*/ 193271 w 697396"/>
                      <a:gd name="connsiteY51" fmla="*/ 221118 h 1015067"/>
                      <a:gd name="connsiteX52" fmla="*/ 301544 w 697396"/>
                      <a:gd name="connsiteY52" fmla="*/ 221118 h 10150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697396" h="1015067">
                        <a:moveTo>
                          <a:pt x="594734" y="371870"/>
                        </a:moveTo>
                        <a:lnTo>
                          <a:pt x="677030" y="371870"/>
                        </a:lnTo>
                        <a:cubicBezTo>
                          <a:pt x="687379" y="371870"/>
                          <a:pt x="697313" y="364347"/>
                          <a:pt x="697313" y="353997"/>
                        </a:cubicBezTo>
                        <a:lnTo>
                          <a:pt x="697313" y="297887"/>
                        </a:lnTo>
                        <a:cubicBezTo>
                          <a:pt x="697313" y="192938"/>
                          <a:pt x="610404" y="108024"/>
                          <a:pt x="505455" y="108024"/>
                        </a:cubicBezTo>
                        <a:lnTo>
                          <a:pt x="395769" y="108024"/>
                        </a:lnTo>
                        <a:lnTo>
                          <a:pt x="395769" y="31339"/>
                        </a:lnTo>
                        <a:cubicBezTo>
                          <a:pt x="395769" y="14049"/>
                          <a:pt x="374655" y="0"/>
                          <a:pt x="348677" y="0"/>
                        </a:cubicBezTo>
                        <a:cubicBezTo>
                          <a:pt x="322700" y="0"/>
                          <a:pt x="301544" y="14049"/>
                          <a:pt x="301544" y="31339"/>
                        </a:cubicBezTo>
                        <a:lnTo>
                          <a:pt x="301544" y="108065"/>
                        </a:lnTo>
                        <a:lnTo>
                          <a:pt x="193271" y="108065"/>
                        </a:lnTo>
                        <a:cubicBezTo>
                          <a:pt x="88323" y="108065"/>
                          <a:pt x="0" y="192980"/>
                          <a:pt x="0" y="297928"/>
                        </a:cubicBezTo>
                        <a:lnTo>
                          <a:pt x="0" y="400549"/>
                        </a:lnTo>
                        <a:cubicBezTo>
                          <a:pt x="0" y="505497"/>
                          <a:pt x="88323" y="588666"/>
                          <a:pt x="193271" y="588666"/>
                        </a:cubicBezTo>
                        <a:lnTo>
                          <a:pt x="301544" y="588666"/>
                        </a:lnTo>
                        <a:lnTo>
                          <a:pt x="301544" y="786550"/>
                        </a:lnTo>
                        <a:lnTo>
                          <a:pt x="193271" y="786550"/>
                        </a:lnTo>
                        <a:cubicBezTo>
                          <a:pt x="154659" y="786941"/>
                          <a:pt x="122987" y="755943"/>
                          <a:pt x="122613" y="717309"/>
                        </a:cubicBezTo>
                        <a:cubicBezTo>
                          <a:pt x="122613" y="717210"/>
                          <a:pt x="122613" y="717114"/>
                          <a:pt x="122613" y="717014"/>
                        </a:cubicBezTo>
                        <a:lnTo>
                          <a:pt x="122613" y="712151"/>
                        </a:lnTo>
                        <a:cubicBezTo>
                          <a:pt x="122779" y="701619"/>
                          <a:pt x="114591" y="692841"/>
                          <a:pt x="104076" y="692284"/>
                        </a:cubicBezTo>
                        <a:lnTo>
                          <a:pt x="21738" y="692284"/>
                        </a:lnTo>
                        <a:cubicBezTo>
                          <a:pt x="11430" y="692284"/>
                          <a:pt x="83" y="701844"/>
                          <a:pt x="83" y="712151"/>
                        </a:cubicBezTo>
                        <a:lnTo>
                          <a:pt x="83" y="717139"/>
                        </a:lnTo>
                        <a:cubicBezTo>
                          <a:pt x="83" y="822045"/>
                          <a:pt x="88406" y="899728"/>
                          <a:pt x="193354" y="899728"/>
                        </a:cubicBezTo>
                        <a:lnTo>
                          <a:pt x="301628" y="899728"/>
                        </a:lnTo>
                        <a:lnTo>
                          <a:pt x="301628" y="983687"/>
                        </a:lnTo>
                        <a:cubicBezTo>
                          <a:pt x="301628" y="1001019"/>
                          <a:pt x="322783" y="1015067"/>
                          <a:pt x="348761" y="1015067"/>
                        </a:cubicBezTo>
                        <a:cubicBezTo>
                          <a:pt x="374738" y="1015067"/>
                          <a:pt x="395852" y="1001019"/>
                          <a:pt x="395852" y="983687"/>
                        </a:cubicBezTo>
                        <a:lnTo>
                          <a:pt x="395852" y="899728"/>
                        </a:lnTo>
                        <a:lnTo>
                          <a:pt x="505539" y="899728"/>
                        </a:lnTo>
                        <a:cubicBezTo>
                          <a:pt x="610487" y="899728"/>
                          <a:pt x="697396" y="822045"/>
                          <a:pt x="697396" y="717139"/>
                        </a:cubicBezTo>
                        <a:lnTo>
                          <a:pt x="697396" y="661361"/>
                        </a:lnTo>
                        <a:cubicBezTo>
                          <a:pt x="697396" y="556454"/>
                          <a:pt x="610487" y="466011"/>
                          <a:pt x="505539" y="466011"/>
                        </a:cubicBezTo>
                        <a:lnTo>
                          <a:pt x="395852" y="466011"/>
                        </a:lnTo>
                        <a:lnTo>
                          <a:pt x="395852" y="221118"/>
                        </a:lnTo>
                        <a:lnTo>
                          <a:pt x="505539" y="221118"/>
                        </a:lnTo>
                        <a:cubicBezTo>
                          <a:pt x="544442" y="221118"/>
                          <a:pt x="574909" y="258983"/>
                          <a:pt x="574909" y="297887"/>
                        </a:cubicBezTo>
                        <a:lnTo>
                          <a:pt x="574909" y="353997"/>
                        </a:lnTo>
                        <a:cubicBezTo>
                          <a:pt x="575573" y="364355"/>
                          <a:pt x="584385" y="372298"/>
                          <a:pt x="594734" y="371870"/>
                        </a:cubicBezTo>
                        <a:close/>
                        <a:moveTo>
                          <a:pt x="505455" y="588624"/>
                        </a:moveTo>
                        <a:cubicBezTo>
                          <a:pt x="544359" y="588624"/>
                          <a:pt x="574825" y="622457"/>
                          <a:pt x="574825" y="661361"/>
                        </a:cubicBezTo>
                        <a:lnTo>
                          <a:pt x="574825" y="717139"/>
                        </a:lnTo>
                        <a:cubicBezTo>
                          <a:pt x="575282" y="755103"/>
                          <a:pt x="544858" y="786234"/>
                          <a:pt x="506869" y="786675"/>
                        </a:cubicBezTo>
                        <a:cubicBezTo>
                          <a:pt x="506411" y="786679"/>
                          <a:pt x="505912" y="786679"/>
                          <a:pt x="505455" y="786675"/>
                        </a:cubicBezTo>
                        <a:lnTo>
                          <a:pt x="395769" y="786675"/>
                        </a:lnTo>
                        <a:lnTo>
                          <a:pt x="395769" y="588624"/>
                        </a:lnTo>
                        <a:close/>
                        <a:moveTo>
                          <a:pt x="301544" y="466094"/>
                        </a:moveTo>
                        <a:lnTo>
                          <a:pt x="193271" y="466094"/>
                        </a:lnTo>
                        <a:cubicBezTo>
                          <a:pt x="154367" y="466094"/>
                          <a:pt x="122613" y="439411"/>
                          <a:pt x="122613" y="400507"/>
                        </a:cubicBezTo>
                        <a:lnTo>
                          <a:pt x="122613" y="297887"/>
                        </a:lnTo>
                        <a:cubicBezTo>
                          <a:pt x="122613" y="258983"/>
                          <a:pt x="154451" y="221118"/>
                          <a:pt x="193271" y="221118"/>
                        </a:cubicBezTo>
                        <a:lnTo>
                          <a:pt x="301544" y="221118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83000"/>
                    </a:schemeClr>
                  </a:solidFill>
                  <a:ln w="4156" cap="flat">
                    <a:noFill/>
                    <a:prstDash val="solid"/>
                    <a:miter/>
                  </a:ln>
                </p:spPr>
                <p:txBody>
  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IN" sz="1350"/>
                  </a:p>
                </p:txBody>
              </p:sp>
            </p:grp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39E200A0-578B-4DB3-8FC4-17DEF93C5C37}"/>
                  </a:ext>
                </a:extLst>
              </p:cNvPr>
              <p:cNvGrpSpPr/>
              <p:nvPr/>
            </p:nvGrpSpPr>
            <p:grpSpPr>
              <a:xfrm>
                <a:off x="2946266" y="3671712"/>
                <a:ext cx="5108021" cy="2587358"/>
                <a:chOff x="3327667" y="2670112"/>
                <a:chExt cx="5108021" cy="2587358"/>
              </a:xfrm>
            </p:grpSpPr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B9F49B88-7BA4-49E2-8DE1-E27B22BB669A}"/>
                    </a:ext>
                  </a:extLst>
                </p:cNvPr>
                <p:cNvSpPr txBox="1"/>
                <p:nvPr/>
              </p:nvSpPr>
              <p:spPr>
                <a:xfrm>
                  <a:off x="3327667" y="3460756"/>
                  <a:ext cx="1235024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2400" spc="75" dirty="0">
                      <a:solidFill>
                        <a:schemeClr val="bg1"/>
                      </a:solidFill>
                      <a:latin typeface="Adobe Fan Heiti Std B" panose="020B0700000000000000" pitchFamily="34" charset="-128"/>
                      <a:ea typeface="Adobe Fan Heiti Std B" panose="020B0700000000000000" pitchFamily="34" charset="-128"/>
                    </a:rPr>
                    <a:t>1856</a:t>
                  </a:r>
                </a:p>
              </p:txBody>
            </p:sp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9BE2480C-38EE-40A6-923F-31422E2BF0B2}"/>
                    </a:ext>
                  </a:extLst>
                </p:cNvPr>
                <p:cNvSpPr txBox="1"/>
                <p:nvPr/>
              </p:nvSpPr>
              <p:spPr>
                <a:xfrm>
                  <a:off x="4618666" y="3460756"/>
                  <a:ext cx="1235024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2400" spc="75" dirty="0">
                      <a:solidFill>
                        <a:schemeClr val="bg1"/>
                      </a:solidFill>
                      <a:latin typeface="Adobe Fan Heiti Std B" panose="020B0700000000000000" pitchFamily="34" charset="-128"/>
                      <a:ea typeface="Adobe Fan Heiti Std B" panose="020B0700000000000000" pitchFamily="34" charset="-128"/>
                    </a:rPr>
                    <a:t>5893</a:t>
                  </a:r>
                </a:p>
              </p:txBody>
            </p: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C40CCC9E-5F4C-4B7A-839A-554FAA1E9A0B}"/>
                    </a:ext>
                  </a:extLst>
                </p:cNvPr>
                <p:cNvSpPr txBox="1"/>
                <p:nvPr/>
              </p:nvSpPr>
              <p:spPr>
                <a:xfrm>
                  <a:off x="5909665" y="3460756"/>
                  <a:ext cx="1235024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2400" spc="75" dirty="0">
                      <a:solidFill>
                        <a:schemeClr val="bg1"/>
                      </a:solidFill>
                      <a:latin typeface="Adobe Fan Heiti Std B" panose="020B0700000000000000" pitchFamily="34" charset="-128"/>
                      <a:ea typeface="Adobe Fan Heiti Std B" panose="020B0700000000000000" pitchFamily="34" charset="-128"/>
                    </a:rPr>
                    <a:t>1287</a:t>
                  </a: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B34A25E8-BEEA-4829-8F00-0CFC0983C722}"/>
                    </a:ext>
                  </a:extLst>
                </p:cNvPr>
                <p:cNvSpPr txBox="1"/>
                <p:nvPr/>
              </p:nvSpPr>
              <p:spPr>
                <a:xfrm>
                  <a:off x="7200664" y="3460756"/>
                  <a:ext cx="1235024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2400" spc="75" dirty="0">
                      <a:solidFill>
                        <a:schemeClr val="bg1"/>
                      </a:solidFill>
                      <a:latin typeface="Adobe Fan Heiti Std B" panose="020B0700000000000000" pitchFamily="34" charset="-128"/>
                      <a:ea typeface="Adobe Fan Heiti Std B" panose="020B0700000000000000" pitchFamily="34" charset="-128"/>
                    </a:rPr>
                    <a:t>8934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E2777BD4-9D0F-4BA9-8F6F-D428DA882CD2}"/>
                    </a:ext>
                  </a:extLst>
                </p:cNvPr>
                <p:cNvSpPr txBox="1"/>
                <p:nvPr/>
              </p:nvSpPr>
              <p:spPr>
                <a:xfrm>
                  <a:off x="3327667" y="4641917"/>
                  <a:ext cx="2336533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IN" sz="1200" spc="75" dirty="0">
                      <a:solidFill>
                        <a:schemeClr val="bg1"/>
                      </a:solidFill>
                      <a:latin typeface="Adobe Fan Heiti Std B" panose="020B0700000000000000" pitchFamily="34" charset="-128"/>
                      <a:ea typeface="Adobe Fan Heiti Std B" panose="020B0700000000000000" pitchFamily="34" charset="-128"/>
                    </a:rPr>
                    <a:t>CARD HOLDER NAME</a:t>
                  </a: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54F10C40-7D9A-4BC5-BC40-2072E81A11CC}"/>
                    </a:ext>
                  </a:extLst>
                </p:cNvPr>
                <p:cNvSpPr txBox="1"/>
                <p:nvPr/>
              </p:nvSpPr>
              <p:spPr>
                <a:xfrm>
                  <a:off x="7513593" y="4641917"/>
                  <a:ext cx="922095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IN" sz="1200" spc="113" dirty="0">
                      <a:solidFill>
                        <a:schemeClr val="bg1"/>
                      </a:solidFill>
                      <a:latin typeface="Adobe Fan Heiti Std B" panose="020B0700000000000000" pitchFamily="34" charset="-128"/>
                      <a:ea typeface="Adobe Fan Heiti Std B" panose="020B0700000000000000" pitchFamily="34" charset="-128"/>
                    </a:rPr>
                    <a:t>09/22</a:t>
                  </a:r>
                </a:p>
              </p:txBody>
            </p:sp>
            <p:pic>
              <p:nvPicPr>
                <p:cNvPr id="94" name="Picture 2" descr="Image result for credit card chip image png">
                  <a:extLst>
                    <a:ext uri="{FF2B5EF4-FFF2-40B4-BE49-F238E27FC236}">
                      <a16:creationId xmlns:a16="http://schemas.microsoft.com/office/drawing/2014/main" id="{5B6D533B-B16A-43E9-92DC-00DAD0118FF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1097"/>
                <a:stretch/>
              </p:blipFill>
              <p:spPr bwMode="auto">
                <a:xfrm>
                  <a:off x="3484430" y="2670112"/>
                  <a:ext cx="1006407" cy="77084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F61064B-55AC-4FA5-BC33-77C9BFCE03C1}"/>
                </a:ext>
              </a:extLst>
            </p:cNvPr>
            <p:cNvGrpSpPr/>
            <p:nvPr/>
          </p:nvGrpSpPr>
          <p:grpSpPr>
            <a:xfrm>
              <a:off x="7777415" y="2951155"/>
              <a:ext cx="3080306" cy="2964662"/>
              <a:chOff x="7777415" y="2402351"/>
              <a:chExt cx="3080306" cy="2964662"/>
            </a:xfrm>
          </p:grpSpPr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EDE4918E-988A-4158-9CF3-372C9AFD6932}"/>
                  </a:ext>
                </a:extLst>
              </p:cNvPr>
              <p:cNvGrpSpPr/>
              <p:nvPr/>
            </p:nvGrpSpPr>
            <p:grpSpPr>
              <a:xfrm>
                <a:off x="7797508" y="2402351"/>
                <a:ext cx="3060212" cy="1353149"/>
                <a:chOff x="408646" y="5149473"/>
                <a:chExt cx="4727638" cy="1353149"/>
              </a:xfrm>
            </p:grpSpPr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3B0EBA1D-7728-4F9B-BB58-D2DF458FEFE3}"/>
                    </a:ext>
                  </a:extLst>
                </p:cNvPr>
                <p:cNvSpPr/>
                <p:nvPr/>
              </p:nvSpPr>
              <p:spPr>
                <a:xfrm>
                  <a:off x="408646" y="5510050"/>
                  <a:ext cx="4727638" cy="99257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sz="1600" b="1" dirty="0">
                      <a:solidFill>
                        <a:srgbClr val="263238"/>
                      </a:solidFill>
                      <a:latin typeface="Roboto" pitchFamily="2" charset="0"/>
                    </a:rPr>
                    <a:t>Mais Alhennawi</a:t>
                  </a:r>
                </a:p>
                <a:p>
                  <a:r>
                    <a:rPr lang="en-US" sz="1600" b="1" dirty="0">
                      <a:solidFill>
                        <a:srgbClr val="263238"/>
                      </a:solidFill>
                      <a:latin typeface="Roboto" pitchFamily="2" charset="0"/>
                    </a:rPr>
                    <a:t>Nada Nemr</a:t>
                  </a:r>
                </a:p>
                <a:p>
                  <a:r>
                    <a:rPr lang="en-US" sz="1600" b="1" dirty="0">
                      <a:solidFill>
                        <a:srgbClr val="263238"/>
                      </a:solidFill>
                      <a:latin typeface="Roboto" pitchFamily="2" charset="0"/>
                    </a:rPr>
                    <a:t>Salam Alhaj </a:t>
                  </a:r>
                  <a:endParaRPr lang="en-IN" sz="1600" b="1" dirty="0"/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4BAD3D44-D26F-4D93-9C39-81DC50F677A3}"/>
                    </a:ext>
                  </a:extLst>
                </p:cNvPr>
                <p:cNvSpPr/>
                <p:nvPr/>
              </p:nvSpPr>
              <p:spPr>
                <a:xfrm>
                  <a:off x="1114878" y="5149473"/>
                  <a:ext cx="4021404" cy="44114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b="1" dirty="0">
                      <a:solidFill>
                        <a:schemeClr val="accent6"/>
                      </a:solidFill>
                      <a:latin typeface="Roboto" pitchFamily="2" charset="0"/>
                    </a:rPr>
                    <a:t>Prepped by :</a:t>
                  </a:r>
                  <a:endParaRPr lang="en-IN" b="1" dirty="0">
                    <a:solidFill>
                      <a:schemeClr val="accent6"/>
                    </a:solidFill>
                  </a:endParaRPr>
                </a:p>
              </p:txBody>
            </p: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66F2756B-B30B-4D7D-BB1B-498FFD559B4E}"/>
                  </a:ext>
                </a:extLst>
              </p:cNvPr>
              <p:cNvGrpSpPr/>
              <p:nvPr/>
            </p:nvGrpSpPr>
            <p:grpSpPr>
              <a:xfrm>
                <a:off x="7777415" y="4307960"/>
                <a:ext cx="3080306" cy="1059053"/>
                <a:chOff x="377604" y="5149473"/>
                <a:chExt cx="4758680" cy="1059053"/>
              </a:xfrm>
            </p:grpSpPr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683323EF-D4C6-40BB-8E47-8CEFB80889D5}"/>
                    </a:ext>
                  </a:extLst>
                </p:cNvPr>
                <p:cNvSpPr/>
                <p:nvPr/>
              </p:nvSpPr>
              <p:spPr>
                <a:xfrm>
                  <a:off x="377604" y="5510050"/>
                  <a:ext cx="4758680" cy="69847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IN" sz="1600" b="1" dirty="0"/>
                    <a:t>DR. Moutasem Shafaamri</a:t>
                  </a:r>
                </a:p>
                <a:p>
                  <a:r>
                    <a:rPr lang="en-IN" sz="1600" b="1" dirty="0"/>
                    <a:t>Eng. Anas Mokhalalati</a:t>
                  </a: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9DAB62D6-DA20-42D0-988E-D0336B6BAE0A}"/>
                    </a:ext>
                  </a:extLst>
                </p:cNvPr>
                <p:cNvSpPr/>
                <p:nvPr/>
              </p:nvSpPr>
              <p:spPr>
                <a:xfrm>
                  <a:off x="1114878" y="5149473"/>
                  <a:ext cx="4021404" cy="44114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b="1" dirty="0">
                      <a:solidFill>
                        <a:schemeClr val="accent4"/>
                      </a:solidFill>
                      <a:latin typeface="Roboto" pitchFamily="2" charset="0"/>
                    </a:rPr>
                    <a:t>Supervisors :</a:t>
                  </a:r>
                  <a:endParaRPr lang="en-IN" b="1" dirty="0">
                    <a:solidFill>
                      <a:schemeClr val="accent4"/>
                    </a:solidFill>
                  </a:endParaRPr>
                </a:p>
              </p:txBody>
            </p:sp>
          </p:grpSp>
        </p:grpSp>
      </p:grpSp>
      <p:pic>
        <p:nvPicPr>
          <p:cNvPr id="6" name="صورة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5835" y="122395"/>
            <a:ext cx="1694688" cy="1694688"/>
          </a:xfrm>
          <a:prstGeom prst="ellipse">
            <a:avLst/>
          </a:prstGeom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  <a:softEdge rad="76200"/>
          </a:effectLst>
        </p:spPr>
      </p:pic>
    </p:spTree>
    <p:extLst>
      <p:ext uri="{BB962C8B-B14F-4D97-AF65-F5344CB8AC3E}">
        <p14:creationId xmlns:p14="http://schemas.microsoft.com/office/powerpoint/2010/main" val="28619574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356943" y="154426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Features extraction</a:t>
            </a:r>
          </a:p>
        </p:txBody>
      </p:sp>
      <p:pic>
        <p:nvPicPr>
          <p:cNvPr id="3" name="صورة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31817"/>
            <a:ext cx="4145279" cy="5593368"/>
          </a:xfrm>
          <a:prstGeom prst="rect">
            <a:avLst/>
          </a:prstGeom>
        </p:spPr>
      </p:pic>
      <p:pic>
        <p:nvPicPr>
          <p:cNvPr id="4" name="صورة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279" y="931817"/>
            <a:ext cx="4998721" cy="3032947"/>
          </a:xfrm>
          <a:prstGeom prst="rect">
            <a:avLst/>
          </a:prstGeom>
        </p:spPr>
      </p:pic>
      <p:pic>
        <p:nvPicPr>
          <p:cNvPr id="5" name="صورة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279" y="3927991"/>
            <a:ext cx="4998721" cy="259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4797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صورة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06681"/>
            <a:ext cx="9144000" cy="364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914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صورة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981302" cy="5695406"/>
          </a:xfrm>
          <a:prstGeom prst="rect">
            <a:avLst/>
          </a:prstGeom>
        </p:spPr>
      </p:pic>
      <p:pic>
        <p:nvPicPr>
          <p:cNvPr id="3" name="صورة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302" y="3283131"/>
            <a:ext cx="4162698" cy="2412275"/>
          </a:xfrm>
          <a:prstGeom prst="rect">
            <a:avLst/>
          </a:prstGeom>
        </p:spPr>
      </p:pic>
      <p:pic>
        <p:nvPicPr>
          <p:cNvPr id="4" name="صورة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302" y="0"/>
            <a:ext cx="4162698" cy="328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3731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مربع نص 2"/>
          <p:cNvSpPr txBox="1"/>
          <p:nvPr/>
        </p:nvSpPr>
        <p:spPr>
          <a:xfrm>
            <a:off x="670452" y="337307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Preprocessing data</a:t>
            </a:r>
          </a:p>
        </p:txBody>
      </p:sp>
      <p:sp>
        <p:nvSpPr>
          <p:cNvPr id="4" name="مربع نص 3"/>
          <p:cNvSpPr txBox="1"/>
          <p:nvPr/>
        </p:nvSpPr>
        <p:spPr>
          <a:xfrm>
            <a:off x="949234" y="1654629"/>
            <a:ext cx="685364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Why Data Preprocessing in Machine Learning ?</a:t>
            </a:r>
          </a:p>
          <a:p>
            <a:endParaRPr lang="en-US" dirty="0"/>
          </a:p>
        </p:txBody>
      </p:sp>
      <p:sp>
        <p:nvSpPr>
          <p:cNvPr id="5" name="مربع نص 4"/>
          <p:cNvSpPr txBox="1"/>
          <p:nvPr/>
        </p:nvSpPr>
        <p:spPr>
          <a:xfrm>
            <a:off x="949234" y="2510286"/>
            <a:ext cx="685364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How was it implement in our project ?</a:t>
            </a:r>
          </a:p>
          <a:p>
            <a:endParaRPr lang="en-US" dirty="0"/>
          </a:p>
        </p:txBody>
      </p:sp>
      <p:pic>
        <p:nvPicPr>
          <p:cNvPr id="6" name="صورة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1" y="4192161"/>
            <a:ext cx="4092076" cy="2503777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7699337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>
            <a:extLst>
              <a:ext uri="{FF2B5EF4-FFF2-40B4-BE49-F238E27FC236}">
                <a16:creationId xmlns:a16="http://schemas.microsoft.com/office/drawing/2014/main" id="{1D254C2E-25CA-4E59-A0DC-BABE50B33816}"/>
              </a:ext>
            </a:extLst>
          </p:cNvPr>
          <p:cNvGrpSpPr/>
          <p:nvPr/>
        </p:nvGrpSpPr>
        <p:grpSpPr>
          <a:xfrm>
            <a:off x="87085" y="3436421"/>
            <a:ext cx="8902171" cy="2604152"/>
            <a:chOff x="-225460" y="1872760"/>
            <a:chExt cx="12260754" cy="347220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037570-701A-4C3F-83A2-F305DF13C8ED}"/>
                </a:ext>
              </a:extLst>
            </p:cNvPr>
            <p:cNvGrpSpPr/>
            <p:nvPr/>
          </p:nvGrpSpPr>
          <p:grpSpPr>
            <a:xfrm>
              <a:off x="-225460" y="1872760"/>
              <a:ext cx="4811405" cy="3472202"/>
              <a:chOff x="1428529" y="1092831"/>
              <a:chExt cx="4811405" cy="3472202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A8DD3A73-85AB-40B7-B975-9B35E24ADA72}"/>
                  </a:ext>
                </a:extLst>
              </p:cNvPr>
              <p:cNvGrpSpPr/>
              <p:nvPr/>
            </p:nvGrpSpPr>
            <p:grpSpPr>
              <a:xfrm>
                <a:off x="1428529" y="1092831"/>
                <a:ext cx="4811405" cy="3472202"/>
                <a:chOff x="1562998" y="1724841"/>
                <a:chExt cx="5300579" cy="3825220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3FE07407-BB66-44F2-B7E1-934229549BEF}"/>
                    </a:ext>
                  </a:extLst>
                </p:cNvPr>
                <p:cNvSpPr/>
                <p:nvPr/>
              </p:nvSpPr>
              <p:spPr>
                <a:xfrm rot="2751331">
                  <a:off x="3511466" y="2112408"/>
                  <a:ext cx="2333330" cy="4370893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EE8D8407-126A-4549-97C2-156AC8BFFD00}"/>
                    </a:ext>
                  </a:extLst>
                </p:cNvPr>
                <p:cNvSpPr/>
                <p:nvPr/>
              </p:nvSpPr>
              <p:spPr>
                <a:xfrm rot="18971628">
                  <a:off x="1562998" y="1724841"/>
                  <a:ext cx="2359945" cy="1178949"/>
                </a:xfrm>
                <a:custGeom>
                  <a:avLst/>
                  <a:gdLst>
                    <a:gd name="connsiteX0" fmla="*/ 1130815 w 2359945"/>
                    <a:gd name="connsiteY0" fmla="*/ 0 h 1178949"/>
                    <a:gd name="connsiteX1" fmla="*/ 2359945 w 2359945"/>
                    <a:gd name="connsiteY1" fmla="*/ 1178949 h 1178949"/>
                    <a:gd name="connsiteX2" fmla="*/ 0 w 2359945"/>
                    <a:gd name="connsiteY2" fmla="*/ 1178948 h 1178949"/>
                    <a:gd name="connsiteX3" fmla="*/ 1130815 w 2359945"/>
                    <a:gd name="connsiteY3" fmla="*/ 0 h 117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59945" h="1178949">
                      <a:moveTo>
                        <a:pt x="1130815" y="0"/>
                      </a:moveTo>
                      <a:lnTo>
                        <a:pt x="2359945" y="1178949"/>
                      </a:lnTo>
                      <a:lnTo>
                        <a:pt x="0" y="1178948"/>
                      </a:lnTo>
                      <a:lnTo>
                        <a:pt x="1130815" y="0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5" name="Freeform: Shape 14">
                  <a:extLst>
                    <a:ext uri="{FF2B5EF4-FFF2-40B4-BE49-F238E27FC236}">
                      <a16:creationId xmlns:a16="http://schemas.microsoft.com/office/drawing/2014/main" id="{8136493C-2FE2-4075-B4B4-9EB37EC623F6}"/>
                    </a:ext>
                  </a:extLst>
                </p:cNvPr>
                <p:cNvSpPr/>
                <p:nvPr/>
              </p:nvSpPr>
              <p:spPr>
                <a:xfrm rot="18971628">
                  <a:off x="2070182" y="2269325"/>
                  <a:ext cx="4461576" cy="3280736"/>
                </a:xfrm>
                <a:custGeom>
                  <a:avLst/>
                  <a:gdLst>
                    <a:gd name="connsiteX0" fmla="*/ 3390729 w 4461576"/>
                    <a:gd name="connsiteY0" fmla="*/ 1 h 3280736"/>
                    <a:gd name="connsiteX1" fmla="*/ 4461576 w 4461576"/>
                    <a:gd name="connsiteY1" fmla="*/ 1027129 h 3280736"/>
                    <a:gd name="connsiteX2" fmla="*/ 2299977 w 4461576"/>
                    <a:gd name="connsiteY2" fmla="*/ 3280736 h 3280736"/>
                    <a:gd name="connsiteX3" fmla="*/ 0 w 4461576"/>
                    <a:gd name="connsiteY3" fmla="*/ 1074659 h 3280736"/>
                    <a:gd name="connsiteX4" fmla="*/ 1030784 w 4461576"/>
                    <a:gd name="connsiteY4" fmla="*/ 0 h 3280736"/>
                    <a:gd name="connsiteX5" fmla="*/ 3390729 w 4461576"/>
                    <a:gd name="connsiteY5" fmla="*/ 1 h 3280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1576" h="3280736">
                      <a:moveTo>
                        <a:pt x="3390729" y="1"/>
                      </a:moveTo>
                      <a:lnTo>
                        <a:pt x="4461576" y="1027129"/>
                      </a:lnTo>
                      <a:lnTo>
                        <a:pt x="2299977" y="3280736"/>
                      </a:lnTo>
                      <a:lnTo>
                        <a:pt x="0" y="1074659"/>
                      </a:lnTo>
                      <a:lnTo>
                        <a:pt x="1030784" y="0"/>
                      </a:lnTo>
                      <a:lnTo>
                        <a:pt x="3390729" y="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2">
                        <a:lumMod val="75000"/>
                      </a:scheme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9" name="Freeform: Shape 18">
                  <a:extLst>
                    <a:ext uri="{FF2B5EF4-FFF2-40B4-BE49-F238E27FC236}">
                      <a16:creationId xmlns:a16="http://schemas.microsoft.com/office/drawing/2014/main" id="{F5E0CDA4-4E47-4722-B55B-7B1BC74EBC3C}"/>
                    </a:ext>
                  </a:extLst>
                </p:cNvPr>
                <p:cNvSpPr/>
                <p:nvPr/>
              </p:nvSpPr>
              <p:spPr>
                <a:xfrm rot="18971628">
                  <a:off x="2282817" y="2406096"/>
                  <a:ext cx="3987398" cy="2932059"/>
                </a:xfrm>
                <a:custGeom>
                  <a:avLst/>
                  <a:gdLst>
                    <a:gd name="connsiteX0" fmla="*/ 3390729 w 4461576"/>
                    <a:gd name="connsiteY0" fmla="*/ 1 h 3280736"/>
                    <a:gd name="connsiteX1" fmla="*/ 4461576 w 4461576"/>
                    <a:gd name="connsiteY1" fmla="*/ 1027129 h 3280736"/>
                    <a:gd name="connsiteX2" fmla="*/ 2299977 w 4461576"/>
                    <a:gd name="connsiteY2" fmla="*/ 3280736 h 3280736"/>
                    <a:gd name="connsiteX3" fmla="*/ 0 w 4461576"/>
                    <a:gd name="connsiteY3" fmla="*/ 1074659 h 3280736"/>
                    <a:gd name="connsiteX4" fmla="*/ 1030784 w 4461576"/>
                    <a:gd name="connsiteY4" fmla="*/ 0 h 3280736"/>
                    <a:gd name="connsiteX5" fmla="*/ 3390729 w 4461576"/>
                    <a:gd name="connsiteY5" fmla="*/ 1 h 3280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1576" h="3280736">
                      <a:moveTo>
                        <a:pt x="3390729" y="1"/>
                      </a:moveTo>
                      <a:lnTo>
                        <a:pt x="4461576" y="1027129"/>
                      </a:lnTo>
                      <a:lnTo>
                        <a:pt x="2299977" y="3280736"/>
                      </a:lnTo>
                      <a:lnTo>
                        <a:pt x="0" y="1074659"/>
                      </a:lnTo>
                      <a:lnTo>
                        <a:pt x="1030784" y="0"/>
                      </a:lnTo>
                      <a:lnTo>
                        <a:pt x="3390729" y="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B5D1798F-D2FE-4423-B655-B049E5F906F2}"/>
                    </a:ext>
                  </a:extLst>
                </p:cNvPr>
                <p:cNvSpPr/>
                <p:nvPr/>
              </p:nvSpPr>
              <p:spPr>
                <a:xfrm>
                  <a:off x="3496007" y="1868359"/>
                  <a:ext cx="1021840" cy="4885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lumMod val="85000"/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softEdge rad="1524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F3A55BFA-8D92-48F9-A8D8-17B3E9607551}"/>
                    </a:ext>
                  </a:extLst>
                </p:cNvPr>
                <p:cNvSpPr/>
                <p:nvPr/>
              </p:nvSpPr>
              <p:spPr>
                <a:xfrm>
                  <a:off x="2041176" y="3315710"/>
                  <a:ext cx="1021840" cy="4885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lumMod val="85000"/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softEdge rad="1524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4809FABC-860C-47CB-91ED-B3DFFEC2065D}"/>
                    </a:ext>
                  </a:extLst>
                </p:cNvPr>
                <p:cNvSpPr/>
                <p:nvPr/>
              </p:nvSpPr>
              <p:spPr>
                <a:xfrm rot="8171628">
                  <a:off x="2383270" y="2572005"/>
                  <a:ext cx="2359945" cy="1178949"/>
                </a:xfrm>
                <a:custGeom>
                  <a:avLst/>
                  <a:gdLst>
                    <a:gd name="connsiteX0" fmla="*/ 1130815 w 2359945"/>
                    <a:gd name="connsiteY0" fmla="*/ 0 h 1178949"/>
                    <a:gd name="connsiteX1" fmla="*/ 2359945 w 2359945"/>
                    <a:gd name="connsiteY1" fmla="*/ 1178949 h 1178949"/>
                    <a:gd name="connsiteX2" fmla="*/ 0 w 2359945"/>
                    <a:gd name="connsiteY2" fmla="*/ 1178948 h 1178949"/>
                    <a:gd name="connsiteX3" fmla="*/ 1130815 w 2359945"/>
                    <a:gd name="connsiteY3" fmla="*/ 0 h 117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59945" h="1178949">
                      <a:moveTo>
                        <a:pt x="1130815" y="0"/>
                      </a:moveTo>
                      <a:lnTo>
                        <a:pt x="2359945" y="1178949"/>
                      </a:lnTo>
                      <a:lnTo>
                        <a:pt x="0" y="1178948"/>
                      </a:lnTo>
                      <a:lnTo>
                        <a:pt x="1130815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A801817-C010-409F-AEEC-3AA2538B6CE0}"/>
                  </a:ext>
                </a:extLst>
              </p:cNvPr>
              <p:cNvSpPr txBox="1"/>
              <p:nvPr/>
            </p:nvSpPr>
            <p:spPr>
              <a:xfrm>
                <a:off x="2420034" y="3035763"/>
                <a:ext cx="2286739" cy="328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450"/>
                  </a:spcBef>
                </a:pPr>
                <a:r>
                  <a:rPr lang="en-GB" sz="1600" dirty="0">
                    <a:latin typeface="Georgia Pro Light" panose="02040302050405020303" pitchFamily="18" charset="0"/>
                  </a:rPr>
                  <a:t>Under sampling</a:t>
                </a:r>
                <a:endParaRPr lang="en-US" sz="1600" dirty="0">
                  <a:latin typeface="Georgia Pro Light" panose="02040302050405020303" pitchFamily="18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5B0EA4D-09DA-4CF5-A758-C43FD7EBD4F2}"/>
                  </a:ext>
                </a:extLst>
              </p:cNvPr>
              <p:cNvSpPr txBox="1"/>
              <p:nvPr/>
            </p:nvSpPr>
            <p:spPr>
              <a:xfrm>
                <a:off x="2164262" y="1388642"/>
                <a:ext cx="823203" cy="553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100" dirty="0">
                    <a:solidFill>
                      <a:schemeClr val="bg1"/>
                    </a:solidFill>
                    <a:latin typeface="Georgia Pro" panose="02040802050405020203" pitchFamily="18" charset="0"/>
                  </a:rPr>
                  <a:t>01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07C98ED-6D69-4460-A219-4AD5DA53A44E}"/>
                </a:ext>
              </a:extLst>
            </p:cNvPr>
            <p:cNvGrpSpPr/>
            <p:nvPr/>
          </p:nvGrpSpPr>
          <p:grpSpPr>
            <a:xfrm>
              <a:off x="3516402" y="1872760"/>
              <a:ext cx="4807613" cy="3472202"/>
              <a:chOff x="1428529" y="1092831"/>
              <a:chExt cx="4807613" cy="3472202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D09FA2CB-A71B-4594-83C2-0736F6E99B4D}"/>
                  </a:ext>
                </a:extLst>
              </p:cNvPr>
              <p:cNvGrpSpPr/>
              <p:nvPr/>
            </p:nvGrpSpPr>
            <p:grpSpPr>
              <a:xfrm>
                <a:off x="1428529" y="1092831"/>
                <a:ext cx="4807613" cy="3472202"/>
                <a:chOff x="1562998" y="1724841"/>
                <a:chExt cx="5296401" cy="382522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B8B42851-DDE5-4CF9-AF75-88043CA0940A}"/>
                    </a:ext>
                  </a:extLst>
                </p:cNvPr>
                <p:cNvSpPr/>
                <p:nvPr/>
              </p:nvSpPr>
              <p:spPr>
                <a:xfrm rot="2751331">
                  <a:off x="3513286" y="2108104"/>
                  <a:ext cx="2321334" cy="4370893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6046FC2E-44C5-4DB1-8138-D72349419437}"/>
                    </a:ext>
                  </a:extLst>
                </p:cNvPr>
                <p:cNvSpPr/>
                <p:nvPr/>
              </p:nvSpPr>
              <p:spPr>
                <a:xfrm rot="18971628">
                  <a:off x="1562998" y="1724841"/>
                  <a:ext cx="2359945" cy="1178949"/>
                </a:xfrm>
                <a:custGeom>
                  <a:avLst/>
                  <a:gdLst>
                    <a:gd name="connsiteX0" fmla="*/ 1130815 w 2359945"/>
                    <a:gd name="connsiteY0" fmla="*/ 0 h 1178949"/>
                    <a:gd name="connsiteX1" fmla="*/ 2359945 w 2359945"/>
                    <a:gd name="connsiteY1" fmla="*/ 1178949 h 1178949"/>
                    <a:gd name="connsiteX2" fmla="*/ 0 w 2359945"/>
                    <a:gd name="connsiteY2" fmla="*/ 1178948 h 1178949"/>
                    <a:gd name="connsiteX3" fmla="*/ 1130815 w 2359945"/>
                    <a:gd name="connsiteY3" fmla="*/ 0 h 117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59945" h="1178949">
                      <a:moveTo>
                        <a:pt x="1130815" y="0"/>
                      </a:moveTo>
                      <a:lnTo>
                        <a:pt x="2359945" y="1178949"/>
                      </a:lnTo>
                      <a:lnTo>
                        <a:pt x="0" y="1178948"/>
                      </a:lnTo>
                      <a:lnTo>
                        <a:pt x="1130815" y="0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576DF6C1-07F6-4BC9-AC9A-29403209A4DC}"/>
                    </a:ext>
                  </a:extLst>
                </p:cNvPr>
                <p:cNvSpPr/>
                <p:nvPr/>
              </p:nvSpPr>
              <p:spPr>
                <a:xfrm rot="18971628">
                  <a:off x="2070182" y="2269325"/>
                  <a:ext cx="4461576" cy="3280736"/>
                </a:xfrm>
                <a:custGeom>
                  <a:avLst/>
                  <a:gdLst>
                    <a:gd name="connsiteX0" fmla="*/ 3390729 w 4461576"/>
                    <a:gd name="connsiteY0" fmla="*/ 1 h 3280736"/>
                    <a:gd name="connsiteX1" fmla="*/ 4461576 w 4461576"/>
                    <a:gd name="connsiteY1" fmla="*/ 1027129 h 3280736"/>
                    <a:gd name="connsiteX2" fmla="*/ 2299977 w 4461576"/>
                    <a:gd name="connsiteY2" fmla="*/ 3280736 h 3280736"/>
                    <a:gd name="connsiteX3" fmla="*/ 0 w 4461576"/>
                    <a:gd name="connsiteY3" fmla="*/ 1074659 h 3280736"/>
                    <a:gd name="connsiteX4" fmla="*/ 1030784 w 4461576"/>
                    <a:gd name="connsiteY4" fmla="*/ 0 h 3280736"/>
                    <a:gd name="connsiteX5" fmla="*/ 3390729 w 4461576"/>
                    <a:gd name="connsiteY5" fmla="*/ 1 h 3280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1576" h="3280736">
                      <a:moveTo>
                        <a:pt x="3390729" y="1"/>
                      </a:moveTo>
                      <a:lnTo>
                        <a:pt x="4461576" y="1027129"/>
                      </a:lnTo>
                      <a:lnTo>
                        <a:pt x="2299977" y="3280736"/>
                      </a:lnTo>
                      <a:lnTo>
                        <a:pt x="0" y="1074659"/>
                      </a:lnTo>
                      <a:lnTo>
                        <a:pt x="1030784" y="0"/>
                      </a:lnTo>
                      <a:lnTo>
                        <a:pt x="3390729" y="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2984316C-79D5-477B-BE5E-585823FBCA64}"/>
                    </a:ext>
                  </a:extLst>
                </p:cNvPr>
                <p:cNvSpPr/>
                <p:nvPr/>
              </p:nvSpPr>
              <p:spPr>
                <a:xfrm rot="18971628">
                  <a:off x="2282817" y="2406096"/>
                  <a:ext cx="3987398" cy="2932059"/>
                </a:xfrm>
                <a:custGeom>
                  <a:avLst/>
                  <a:gdLst>
                    <a:gd name="connsiteX0" fmla="*/ 3390729 w 4461576"/>
                    <a:gd name="connsiteY0" fmla="*/ 1 h 3280736"/>
                    <a:gd name="connsiteX1" fmla="*/ 4461576 w 4461576"/>
                    <a:gd name="connsiteY1" fmla="*/ 1027129 h 3280736"/>
                    <a:gd name="connsiteX2" fmla="*/ 2299977 w 4461576"/>
                    <a:gd name="connsiteY2" fmla="*/ 3280736 h 3280736"/>
                    <a:gd name="connsiteX3" fmla="*/ 0 w 4461576"/>
                    <a:gd name="connsiteY3" fmla="*/ 1074659 h 3280736"/>
                    <a:gd name="connsiteX4" fmla="*/ 1030784 w 4461576"/>
                    <a:gd name="connsiteY4" fmla="*/ 0 h 3280736"/>
                    <a:gd name="connsiteX5" fmla="*/ 3390729 w 4461576"/>
                    <a:gd name="connsiteY5" fmla="*/ 1 h 3280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1576" h="3280736">
                      <a:moveTo>
                        <a:pt x="3390729" y="1"/>
                      </a:moveTo>
                      <a:lnTo>
                        <a:pt x="4461576" y="1027129"/>
                      </a:lnTo>
                      <a:lnTo>
                        <a:pt x="2299977" y="3280736"/>
                      </a:lnTo>
                      <a:lnTo>
                        <a:pt x="0" y="1074659"/>
                      </a:lnTo>
                      <a:lnTo>
                        <a:pt x="1030784" y="0"/>
                      </a:lnTo>
                      <a:lnTo>
                        <a:pt x="3390729" y="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942B97A3-AA65-447A-B29A-4F4A5D2CB8F5}"/>
                    </a:ext>
                  </a:extLst>
                </p:cNvPr>
                <p:cNvSpPr/>
                <p:nvPr/>
              </p:nvSpPr>
              <p:spPr>
                <a:xfrm>
                  <a:off x="3496007" y="1868359"/>
                  <a:ext cx="1021840" cy="4885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lumMod val="85000"/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softEdge rad="1524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9F7BDC9-9BD2-4A13-AB3D-BCA76A850CE8}"/>
                    </a:ext>
                  </a:extLst>
                </p:cNvPr>
                <p:cNvSpPr/>
                <p:nvPr/>
              </p:nvSpPr>
              <p:spPr>
                <a:xfrm>
                  <a:off x="2041176" y="3315710"/>
                  <a:ext cx="1021840" cy="4885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lumMod val="85000"/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softEdge rad="1524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30864210-E4B9-470F-829E-44F5AFDF260E}"/>
                    </a:ext>
                  </a:extLst>
                </p:cNvPr>
                <p:cNvSpPr/>
                <p:nvPr/>
              </p:nvSpPr>
              <p:spPr>
                <a:xfrm rot="8171628">
                  <a:off x="2383270" y="2572005"/>
                  <a:ext cx="2359945" cy="1178949"/>
                </a:xfrm>
                <a:custGeom>
                  <a:avLst/>
                  <a:gdLst>
                    <a:gd name="connsiteX0" fmla="*/ 1130815 w 2359945"/>
                    <a:gd name="connsiteY0" fmla="*/ 0 h 1178949"/>
                    <a:gd name="connsiteX1" fmla="*/ 2359945 w 2359945"/>
                    <a:gd name="connsiteY1" fmla="*/ 1178949 h 1178949"/>
                    <a:gd name="connsiteX2" fmla="*/ 0 w 2359945"/>
                    <a:gd name="connsiteY2" fmla="*/ 1178948 h 1178949"/>
                    <a:gd name="connsiteX3" fmla="*/ 1130815 w 2359945"/>
                    <a:gd name="connsiteY3" fmla="*/ 0 h 117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59945" h="1178949">
                      <a:moveTo>
                        <a:pt x="1130815" y="0"/>
                      </a:moveTo>
                      <a:lnTo>
                        <a:pt x="2359945" y="1178949"/>
                      </a:lnTo>
                      <a:lnTo>
                        <a:pt x="0" y="1178948"/>
                      </a:lnTo>
                      <a:lnTo>
                        <a:pt x="1130815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</p:grp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7012C398-D496-47F2-B28A-114AF144BA4B}"/>
                  </a:ext>
                </a:extLst>
              </p:cNvPr>
              <p:cNvSpPr txBox="1"/>
              <p:nvPr/>
            </p:nvSpPr>
            <p:spPr>
              <a:xfrm>
                <a:off x="2420033" y="3064339"/>
                <a:ext cx="2286739" cy="328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450"/>
                  </a:spcBef>
                </a:pPr>
                <a:r>
                  <a:rPr lang="en-GB" sz="1600" dirty="0">
                    <a:latin typeface="Georgia Pro Light" panose="02040302050405020303" pitchFamily="18" charset="0"/>
                  </a:rPr>
                  <a:t>Over sampling</a:t>
                </a:r>
                <a:endParaRPr lang="en-US" sz="1600" dirty="0">
                  <a:latin typeface="Georgia Pro Light" panose="02040302050405020303" pitchFamily="18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CABEC4D3-B0BC-450F-A9F3-735B04F36DB4}"/>
                  </a:ext>
                </a:extLst>
              </p:cNvPr>
              <p:cNvSpPr txBox="1"/>
              <p:nvPr/>
            </p:nvSpPr>
            <p:spPr>
              <a:xfrm>
                <a:off x="2164262" y="1388642"/>
                <a:ext cx="823203" cy="553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100" dirty="0">
                    <a:solidFill>
                      <a:schemeClr val="bg1"/>
                    </a:solidFill>
                    <a:latin typeface="Georgia Pro" panose="02040802050405020203" pitchFamily="18" charset="0"/>
                  </a:rPr>
                  <a:t>02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28FDDD9-880A-4A09-A587-5A77C6422B7B}"/>
                </a:ext>
              </a:extLst>
            </p:cNvPr>
            <p:cNvGrpSpPr/>
            <p:nvPr/>
          </p:nvGrpSpPr>
          <p:grpSpPr>
            <a:xfrm>
              <a:off x="7258263" y="1872760"/>
              <a:ext cx="4777031" cy="3472202"/>
              <a:chOff x="1428529" y="1092831"/>
              <a:chExt cx="4777031" cy="3472202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D8A78E0-10E9-4A2C-AAAC-0FB9437B600B}"/>
                  </a:ext>
                </a:extLst>
              </p:cNvPr>
              <p:cNvGrpSpPr/>
              <p:nvPr/>
            </p:nvGrpSpPr>
            <p:grpSpPr>
              <a:xfrm>
                <a:off x="1428529" y="1092831"/>
                <a:ext cx="4777031" cy="3472202"/>
                <a:chOff x="1562998" y="1724841"/>
                <a:chExt cx="5262710" cy="3825220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0575E0E0-594D-4A21-9EA9-6D80750077FB}"/>
                    </a:ext>
                  </a:extLst>
                </p:cNvPr>
                <p:cNvSpPr/>
                <p:nvPr/>
              </p:nvSpPr>
              <p:spPr>
                <a:xfrm rot="2751331">
                  <a:off x="3527970" y="2073391"/>
                  <a:ext cx="2224584" cy="4370893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C7587189-C75A-4028-BB05-9878266703EF}"/>
                    </a:ext>
                  </a:extLst>
                </p:cNvPr>
                <p:cNvSpPr/>
                <p:nvPr/>
              </p:nvSpPr>
              <p:spPr>
                <a:xfrm rot="18971628">
                  <a:off x="1562998" y="1724841"/>
                  <a:ext cx="2359945" cy="1178949"/>
                </a:xfrm>
                <a:custGeom>
                  <a:avLst/>
                  <a:gdLst>
                    <a:gd name="connsiteX0" fmla="*/ 1130815 w 2359945"/>
                    <a:gd name="connsiteY0" fmla="*/ 0 h 1178949"/>
                    <a:gd name="connsiteX1" fmla="*/ 2359945 w 2359945"/>
                    <a:gd name="connsiteY1" fmla="*/ 1178949 h 1178949"/>
                    <a:gd name="connsiteX2" fmla="*/ 0 w 2359945"/>
                    <a:gd name="connsiteY2" fmla="*/ 1178948 h 1178949"/>
                    <a:gd name="connsiteX3" fmla="*/ 1130815 w 2359945"/>
                    <a:gd name="connsiteY3" fmla="*/ 0 h 117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59945" h="1178949">
                      <a:moveTo>
                        <a:pt x="1130815" y="0"/>
                      </a:moveTo>
                      <a:lnTo>
                        <a:pt x="2359945" y="1178949"/>
                      </a:lnTo>
                      <a:lnTo>
                        <a:pt x="0" y="1178948"/>
                      </a:lnTo>
                      <a:lnTo>
                        <a:pt x="1130815" y="0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4AD65B02-80F8-49A7-900F-6D7C9C62BA23}"/>
                    </a:ext>
                  </a:extLst>
                </p:cNvPr>
                <p:cNvSpPr/>
                <p:nvPr/>
              </p:nvSpPr>
              <p:spPr>
                <a:xfrm rot="18971628">
                  <a:off x="2070182" y="2269325"/>
                  <a:ext cx="4461576" cy="3280736"/>
                </a:xfrm>
                <a:custGeom>
                  <a:avLst/>
                  <a:gdLst>
                    <a:gd name="connsiteX0" fmla="*/ 3390729 w 4461576"/>
                    <a:gd name="connsiteY0" fmla="*/ 1 h 3280736"/>
                    <a:gd name="connsiteX1" fmla="*/ 4461576 w 4461576"/>
                    <a:gd name="connsiteY1" fmla="*/ 1027129 h 3280736"/>
                    <a:gd name="connsiteX2" fmla="*/ 2299977 w 4461576"/>
                    <a:gd name="connsiteY2" fmla="*/ 3280736 h 3280736"/>
                    <a:gd name="connsiteX3" fmla="*/ 0 w 4461576"/>
                    <a:gd name="connsiteY3" fmla="*/ 1074659 h 3280736"/>
                    <a:gd name="connsiteX4" fmla="*/ 1030784 w 4461576"/>
                    <a:gd name="connsiteY4" fmla="*/ 0 h 3280736"/>
                    <a:gd name="connsiteX5" fmla="*/ 3390729 w 4461576"/>
                    <a:gd name="connsiteY5" fmla="*/ 1 h 3280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1576" h="3280736">
                      <a:moveTo>
                        <a:pt x="3390729" y="1"/>
                      </a:moveTo>
                      <a:lnTo>
                        <a:pt x="4461576" y="1027129"/>
                      </a:lnTo>
                      <a:lnTo>
                        <a:pt x="2299977" y="3280736"/>
                      </a:lnTo>
                      <a:lnTo>
                        <a:pt x="0" y="1074659"/>
                      </a:lnTo>
                      <a:lnTo>
                        <a:pt x="1030784" y="0"/>
                      </a:lnTo>
                      <a:lnTo>
                        <a:pt x="3390729" y="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lumMod val="75000"/>
                      </a:scheme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B51A30C8-6174-4F9C-BB25-B8060440A335}"/>
                    </a:ext>
                  </a:extLst>
                </p:cNvPr>
                <p:cNvSpPr/>
                <p:nvPr/>
              </p:nvSpPr>
              <p:spPr>
                <a:xfrm rot="18971628">
                  <a:off x="2282817" y="2406096"/>
                  <a:ext cx="3987398" cy="2932059"/>
                </a:xfrm>
                <a:custGeom>
                  <a:avLst/>
                  <a:gdLst>
                    <a:gd name="connsiteX0" fmla="*/ 3390729 w 4461576"/>
                    <a:gd name="connsiteY0" fmla="*/ 1 h 3280736"/>
                    <a:gd name="connsiteX1" fmla="*/ 4461576 w 4461576"/>
                    <a:gd name="connsiteY1" fmla="*/ 1027129 h 3280736"/>
                    <a:gd name="connsiteX2" fmla="*/ 2299977 w 4461576"/>
                    <a:gd name="connsiteY2" fmla="*/ 3280736 h 3280736"/>
                    <a:gd name="connsiteX3" fmla="*/ 0 w 4461576"/>
                    <a:gd name="connsiteY3" fmla="*/ 1074659 h 3280736"/>
                    <a:gd name="connsiteX4" fmla="*/ 1030784 w 4461576"/>
                    <a:gd name="connsiteY4" fmla="*/ 0 h 3280736"/>
                    <a:gd name="connsiteX5" fmla="*/ 3390729 w 4461576"/>
                    <a:gd name="connsiteY5" fmla="*/ 1 h 32807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61576" h="3280736">
                      <a:moveTo>
                        <a:pt x="3390729" y="1"/>
                      </a:moveTo>
                      <a:lnTo>
                        <a:pt x="4461576" y="1027129"/>
                      </a:lnTo>
                      <a:lnTo>
                        <a:pt x="2299977" y="3280736"/>
                      </a:lnTo>
                      <a:lnTo>
                        <a:pt x="0" y="1074659"/>
                      </a:lnTo>
                      <a:lnTo>
                        <a:pt x="1030784" y="0"/>
                      </a:lnTo>
                      <a:lnTo>
                        <a:pt x="3390729" y="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35D24C7B-0F67-4CAA-B86F-07CACE691DD4}"/>
                    </a:ext>
                  </a:extLst>
                </p:cNvPr>
                <p:cNvSpPr/>
                <p:nvPr/>
              </p:nvSpPr>
              <p:spPr>
                <a:xfrm>
                  <a:off x="3496007" y="1868359"/>
                  <a:ext cx="1021840" cy="4885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lumMod val="85000"/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softEdge rad="1524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9660D449-5617-4C50-865E-B56D1CD282F1}"/>
                    </a:ext>
                  </a:extLst>
                </p:cNvPr>
                <p:cNvSpPr/>
                <p:nvPr/>
              </p:nvSpPr>
              <p:spPr>
                <a:xfrm>
                  <a:off x="2041176" y="3315710"/>
                  <a:ext cx="1021840" cy="4885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alpha val="72000"/>
                      </a:schemeClr>
                    </a:gs>
                    <a:gs pos="100000">
                      <a:schemeClr val="bg1">
                        <a:lumMod val="85000"/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softEdge rad="1524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6B7CE257-E5B0-48CB-BBF1-5F5BFAD0F120}"/>
                    </a:ext>
                  </a:extLst>
                </p:cNvPr>
                <p:cNvSpPr/>
                <p:nvPr/>
              </p:nvSpPr>
              <p:spPr>
                <a:xfrm rot="8171628">
                  <a:off x="2383270" y="2572005"/>
                  <a:ext cx="2359945" cy="1178949"/>
                </a:xfrm>
                <a:custGeom>
                  <a:avLst/>
                  <a:gdLst>
                    <a:gd name="connsiteX0" fmla="*/ 1130815 w 2359945"/>
                    <a:gd name="connsiteY0" fmla="*/ 0 h 1178949"/>
                    <a:gd name="connsiteX1" fmla="*/ 2359945 w 2359945"/>
                    <a:gd name="connsiteY1" fmla="*/ 1178949 h 1178949"/>
                    <a:gd name="connsiteX2" fmla="*/ 0 w 2359945"/>
                    <a:gd name="connsiteY2" fmla="*/ 1178948 h 1178949"/>
                    <a:gd name="connsiteX3" fmla="*/ 1130815 w 2359945"/>
                    <a:gd name="connsiteY3" fmla="*/ 0 h 117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59945" h="1178949">
                      <a:moveTo>
                        <a:pt x="1130815" y="0"/>
                      </a:moveTo>
                      <a:lnTo>
                        <a:pt x="2359945" y="1178949"/>
                      </a:lnTo>
                      <a:lnTo>
                        <a:pt x="0" y="1178948"/>
                      </a:lnTo>
                      <a:lnTo>
                        <a:pt x="1130815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 sz="1350"/>
                </a:p>
              </p:txBody>
            </p:sp>
          </p:grp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423DBAD-E148-46BE-93E9-40B5350FCC83}"/>
                  </a:ext>
                </a:extLst>
              </p:cNvPr>
              <p:cNvSpPr txBox="1"/>
              <p:nvPr/>
            </p:nvSpPr>
            <p:spPr>
              <a:xfrm>
                <a:off x="2420034" y="3035763"/>
                <a:ext cx="2286739" cy="65659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450"/>
                  </a:spcBef>
                </a:pPr>
                <a:r>
                  <a:rPr lang="en-GB" sz="1600" dirty="0">
                    <a:latin typeface="Georgia Pro Light" panose="02040302050405020303" pitchFamily="18" charset="0"/>
                  </a:rPr>
                  <a:t>SMOTH (Over sampling</a:t>
                </a:r>
                <a:r>
                  <a:rPr lang="en-US" sz="1600" dirty="0">
                    <a:latin typeface="Georgia Pro Light" panose="02040302050405020303" pitchFamily="18" charset="0"/>
                  </a:rPr>
                  <a:t>)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C3536A54-77C2-4331-ABA2-FB4B658CEF49}"/>
                  </a:ext>
                </a:extLst>
              </p:cNvPr>
              <p:cNvSpPr txBox="1"/>
              <p:nvPr/>
            </p:nvSpPr>
            <p:spPr>
              <a:xfrm>
                <a:off x="2164262" y="1388642"/>
                <a:ext cx="823203" cy="553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100" dirty="0">
                    <a:solidFill>
                      <a:schemeClr val="bg1"/>
                    </a:solidFill>
                    <a:latin typeface="Georgia Pro" panose="02040802050405020203" pitchFamily="18" charset="0"/>
                  </a:rPr>
                  <a:t>03</a:t>
                </a:r>
              </a:p>
            </p:txBody>
          </p:sp>
        </p:grpSp>
      </p:grpSp>
      <p:grpSp>
        <p:nvGrpSpPr>
          <p:cNvPr id="54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226423" y="242962"/>
            <a:ext cx="6697605" cy="1631216"/>
            <a:chOff x="980039" y="3130267"/>
            <a:chExt cx="5078530" cy="1952186"/>
          </a:xfrm>
        </p:grpSpPr>
        <p:sp>
          <p:nvSpPr>
            <p:cNvPr id="55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56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952186"/>
              <a:chOff x="1505139" y="4207628"/>
              <a:chExt cx="5078530" cy="1952186"/>
            </a:xfrm>
          </p:grpSpPr>
          <p:sp>
            <p:nvSpPr>
              <p:cNvPr id="57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9521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Machine learning algorithms</a:t>
                </a:r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58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7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2" name="مخطط انسيابي: مستند 1"/>
          <p:cNvSpPr/>
          <p:nvPr/>
        </p:nvSpPr>
        <p:spPr>
          <a:xfrm>
            <a:off x="2953173" y="1245326"/>
            <a:ext cx="2716855" cy="1330501"/>
          </a:xfrm>
          <a:prstGeom prst="flowChartDocument">
            <a:avLst/>
          </a:prstGeom>
          <a:effectLst>
            <a:innerShdw blurRad="114300">
              <a:prstClr val="black"/>
            </a:innerShdw>
          </a:effectLst>
        </p:spPr>
        <p:style>
          <a:lnRef idx="2">
            <a:schemeClr val="accent6">
              <a:shade val="50000"/>
            </a:schemeClr>
          </a:lnRef>
          <a:fillRef idx="1003">
            <a:schemeClr val="dk2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مربع نص 2"/>
          <p:cNvSpPr txBox="1"/>
          <p:nvPr/>
        </p:nvSpPr>
        <p:spPr>
          <a:xfrm>
            <a:off x="3119090" y="1569472"/>
            <a:ext cx="23721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tratified K fold</a:t>
            </a:r>
          </a:p>
          <a:p>
            <a:endParaRPr lang="en-US" dirty="0"/>
          </a:p>
        </p:txBody>
      </p:sp>
      <p:cxnSp>
        <p:nvCxnSpPr>
          <p:cNvPr id="5" name="رابط منحني 4"/>
          <p:cNvCxnSpPr>
            <a:stCxn id="2" idx="2"/>
            <a:endCxn id="20" idx="0"/>
          </p:cNvCxnSpPr>
          <p:nvPr/>
        </p:nvCxnSpPr>
        <p:spPr>
          <a:xfrm rot="5400000">
            <a:off x="2481566" y="1704091"/>
            <a:ext cx="1046260" cy="261381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رابط منحني 6"/>
          <p:cNvCxnSpPr>
            <a:stCxn id="2" idx="2"/>
          </p:cNvCxnSpPr>
          <p:nvPr/>
        </p:nvCxnSpPr>
        <p:spPr>
          <a:xfrm rot="16200000" flipH="1">
            <a:off x="3732449" y="3067017"/>
            <a:ext cx="1170413" cy="12109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رابط منحني 9"/>
          <p:cNvCxnSpPr>
            <a:stCxn id="2" idx="2"/>
            <a:endCxn id="49" idx="0"/>
          </p:cNvCxnSpPr>
          <p:nvPr/>
        </p:nvCxnSpPr>
        <p:spPr>
          <a:xfrm rot="16200000" flipH="1">
            <a:off x="5198420" y="1601046"/>
            <a:ext cx="1046260" cy="2819899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8697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F9BD78D-C81B-4875-8B30-49A837B86E10}"/>
              </a:ext>
            </a:extLst>
          </p:cNvPr>
          <p:cNvGrpSpPr/>
          <p:nvPr/>
        </p:nvGrpSpPr>
        <p:grpSpPr>
          <a:xfrm>
            <a:off x="102491" y="2170447"/>
            <a:ext cx="8939018" cy="2722166"/>
            <a:chOff x="266144" y="1750928"/>
            <a:chExt cx="11918690" cy="3629555"/>
          </a:xfrm>
        </p:grpSpPr>
        <p:sp>
          <p:nvSpPr>
            <p:cNvPr id="26" name="Round Same Side Corner Rectangle 27">
              <a:extLst>
                <a:ext uri="{FF2B5EF4-FFF2-40B4-BE49-F238E27FC236}">
                  <a16:creationId xmlns:a16="http://schemas.microsoft.com/office/drawing/2014/main" id="{8C386E3A-5133-444E-BE9F-F41C7DDF8922}"/>
                </a:ext>
              </a:extLst>
            </p:cNvPr>
            <p:cNvSpPr/>
            <p:nvPr/>
          </p:nvSpPr>
          <p:spPr>
            <a:xfrm flipV="1">
              <a:off x="9484393" y="2540415"/>
              <a:ext cx="2304563" cy="2840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" name="Pentagon 28">
              <a:extLst>
                <a:ext uri="{FF2B5EF4-FFF2-40B4-BE49-F238E27FC236}">
                  <a16:creationId xmlns:a16="http://schemas.microsoft.com/office/drawing/2014/main" id="{CAEB638A-4312-4F78-958C-1B8D510161B3}"/>
                </a:ext>
              </a:extLst>
            </p:cNvPr>
            <p:cNvSpPr/>
            <p:nvPr/>
          </p:nvSpPr>
          <p:spPr>
            <a:xfrm>
              <a:off x="9484394" y="1869006"/>
              <a:ext cx="2700440" cy="758018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635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</a:rPr>
                <a:t>5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BD0576B-5C46-4108-8E00-7C679B087261}"/>
                </a:ext>
              </a:extLst>
            </p:cNvPr>
            <p:cNvSpPr/>
            <p:nvPr/>
          </p:nvSpPr>
          <p:spPr>
            <a:xfrm>
              <a:off x="10527045" y="1750928"/>
              <a:ext cx="222947" cy="22294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" name="Round Same Side Corner Rectangle 27">
              <a:extLst>
                <a:ext uri="{FF2B5EF4-FFF2-40B4-BE49-F238E27FC236}">
                  <a16:creationId xmlns:a16="http://schemas.microsoft.com/office/drawing/2014/main" id="{377D28F2-D609-435A-A1EB-ACA42ADCBD5C}"/>
                </a:ext>
              </a:extLst>
            </p:cNvPr>
            <p:cNvSpPr/>
            <p:nvPr/>
          </p:nvSpPr>
          <p:spPr>
            <a:xfrm flipV="1">
              <a:off x="7179831" y="2540415"/>
              <a:ext cx="2304563" cy="2840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" name="Pentagon 28">
              <a:extLst>
                <a:ext uri="{FF2B5EF4-FFF2-40B4-BE49-F238E27FC236}">
                  <a16:creationId xmlns:a16="http://schemas.microsoft.com/office/drawing/2014/main" id="{2FC37E40-0475-4221-A2C9-E50054100AD5}"/>
                </a:ext>
              </a:extLst>
            </p:cNvPr>
            <p:cNvSpPr/>
            <p:nvPr/>
          </p:nvSpPr>
          <p:spPr>
            <a:xfrm>
              <a:off x="7179832" y="1869006"/>
              <a:ext cx="2700440" cy="758018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635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</a:rPr>
                <a:t>4</a:t>
              </a:r>
            </a:p>
          </p:txBody>
        </p:sp>
        <p:sp>
          <p:nvSpPr>
            <p:cNvPr id="6" name="Round Same Side Corner Rectangle 24">
              <a:extLst>
                <a:ext uri="{FF2B5EF4-FFF2-40B4-BE49-F238E27FC236}">
                  <a16:creationId xmlns:a16="http://schemas.microsoft.com/office/drawing/2014/main" id="{C6E92CA2-9139-47B4-B2D7-17461125E4BE}"/>
                </a:ext>
              </a:extLst>
            </p:cNvPr>
            <p:cNvSpPr/>
            <p:nvPr/>
          </p:nvSpPr>
          <p:spPr>
            <a:xfrm flipV="1">
              <a:off x="4875269" y="2540415"/>
              <a:ext cx="2304563" cy="2840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" name="Pentagon 25">
              <a:extLst>
                <a:ext uri="{FF2B5EF4-FFF2-40B4-BE49-F238E27FC236}">
                  <a16:creationId xmlns:a16="http://schemas.microsoft.com/office/drawing/2014/main" id="{6EEDCF67-0732-4E87-B996-A15A3206688D}"/>
                </a:ext>
              </a:extLst>
            </p:cNvPr>
            <p:cNvSpPr/>
            <p:nvPr/>
          </p:nvSpPr>
          <p:spPr>
            <a:xfrm>
              <a:off x="4875270" y="1869006"/>
              <a:ext cx="2700440" cy="758018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635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</a:rPr>
                <a:t>3</a:t>
              </a:r>
            </a:p>
          </p:txBody>
        </p:sp>
        <p:sp>
          <p:nvSpPr>
            <p:cNvPr id="8" name="Round Same Side Corner Rectangle 17">
              <a:extLst>
                <a:ext uri="{FF2B5EF4-FFF2-40B4-BE49-F238E27FC236}">
                  <a16:creationId xmlns:a16="http://schemas.microsoft.com/office/drawing/2014/main" id="{DA6C1196-E473-489C-A56D-DE87469AB6F0}"/>
                </a:ext>
              </a:extLst>
            </p:cNvPr>
            <p:cNvSpPr/>
            <p:nvPr/>
          </p:nvSpPr>
          <p:spPr>
            <a:xfrm flipV="1">
              <a:off x="2570707" y="2540415"/>
              <a:ext cx="2304563" cy="2840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Pentagon 22">
              <a:extLst>
                <a:ext uri="{FF2B5EF4-FFF2-40B4-BE49-F238E27FC236}">
                  <a16:creationId xmlns:a16="http://schemas.microsoft.com/office/drawing/2014/main" id="{FE789BE0-A6CB-46F0-8F95-9B853BC0EB95}"/>
                </a:ext>
              </a:extLst>
            </p:cNvPr>
            <p:cNvSpPr/>
            <p:nvPr/>
          </p:nvSpPr>
          <p:spPr>
            <a:xfrm>
              <a:off x="2570708" y="1869006"/>
              <a:ext cx="2700440" cy="758018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635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</a:rPr>
                <a:t>2</a:t>
              </a:r>
            </a:p>
          </p:txBody>
        </p:sp>
        <p:sp>
          <p:nvSpPr>
            <p:cNvPr id="10" name="Round Same Side Corner Rectangle 2">
              <a:extLst>
                <a:ext uri="{FF2B5EF4-FFF2-40B4-BE49-F238E27FC236}">
                  <a16:creationId xmlns:a16="http://schemas.microsoft.com/office/drawing/2014/main" id="{D5C324A6-8E14-4039-AC2C-C8556FCFB0F2}"/>
                </a:ext>
              </a:extLst>
            </p:cNvPr>
            <p:cNvSpPr/>
            <p:nvPr/>
          </p:nvSpPr>
          <p:spPr>
            <a:xfrm flipV="1">
              <a:off x="266144" y="2540415"/>
              <a:ext cx="2304563" cy="2840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" name="Pentagon 1">
              <a:extLst>
                <a:ext uri="{FF2B5EF4-FFF2-40B4-BE49-F238E27FC236}">
                  <a16:creationId xmlns:a16="http://schemas.microsoft.com/office/drawing/2014/main" id="{9ED4ADC9-E383-45A3-830D-157500E173E7}"/>
                </a:ext>
              </a:extLst>
            </p:cNvPr>
            <p:cNvSpPr/>
            <p:nvPr/>
          </p:nvSpPr>
          <p:spPr>
            <a:xfrm>
              <a:off x="266146" y="1869005"/>
              <a:ext cx="2700440" cy="758017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635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</a:rPr>
                <a:t>1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8C059E3-4EE7-4555-8D4C-C9158AD7C271}"/>
                </a:ext>
              </a:extLst>
            </p:cNvPr>
            <p:cNvSpPr/>
            <p:nvPr/>
          </p:nvSpPr>
          <p:spPr>
            <a:xfrm>
              <a:off x="1306953" y="1750928"/>
              <a:ext cx="222947" cy="22294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FD517E9-622A-4DD8-A082-D503552BFFE5}"/>
                </a:ext>
              </a:extLst>
            </p:cNvPr>
            <p:cNvSpPr/>
            <p:nvPr/>
          </p:nvSpPr>
          <p:spPr>
            <a:xfrm>
              <a:off x="3611512" y="1750928"/>
              <a:ext cx="222947" cy="22294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4D1B228-ACBB-4AB6-95C7-723F70A48E44}"/>
                </a:ext>
              </a:extLst>
            </p:cNvPr>
            <p:cNvSpPr/>
            <p:nvPr/>
          </p:nvSpPr>
          <p:spPr>
            <a:xfrm>
              <a:off x="5917924" y="1750928"/>
              <a:ext cx="222947" cy="22294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707F7AA-03BB-48D3-9078-9A6B49FD6E81}"/>
                </a:ext>
              </a:extLst>
            </p:cNvPr>
            <p:cNvSpPr/>
            <p:nvPr/>
          </p:nvSpPr>
          <p:spPr>
            <a:xfrm>
              <a:off x="8222483" y="1750928"/>
              <a:ext cx="222947" cy="22294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E39570D-6F8E-44B0-8697-D17617A83C9A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355040" y="3521759"/>
              <a:ext cx="2126771" cy="49244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eorgia Pro Light" panose="02040302050405020303" pitchFamily="18" charset="0"/>
                  <a:ea typeface="Cambria" panose="02040503050406030204" pitchFamily="18" charset="0"/>
                </a:rPr>
                <a:t>Decision Tree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E594DB9D-0BB6-4980-9900-018CADD117FC}"/>
              </a:ext>
            </a:extLst>
          </p:cNvPr>
          <p:cNvSpPr txBox="1"/>
          <p:nvPr/>
        </p:nvSpPr>
        <p:spPr>
          <a:xfrm>
            <a:off x="2285293" y="936659"/>
            <a:ext cx="4573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dirty="0">
                <a:latin typeface="Georgia" panose="02040502050405020303" pitchFamily="18" charset="0"/>
                <a:ea typeface="Cambria" panose="02040503050406030204" pitchFamily="18" charset="0"/>
                <a:cs typeface="+mj-cs"/>
              </a:rPr>
              <a:t>Algorithm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EF1D0E1-B8CF-43B5-B2D3-23518E77D14A}"/>
              </a:ext>
            </a:extLst>
          </p:cNvPr>
          <p:cNvGrpSpPr/>
          <p:nvPr/>
        </p:nvGrpSpPr>
        <p:grpSpPr>
          <a:xfrm>
            <a:off x="441885" y="856631"/>
            <a:ext cx="219965" cy="867666"/>
            <a:chOff x="5305778" y="1428045"/>
            <a:chExt cx="293511" cy="108937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9736294-9EDF-486B-BE06-D1B1E8E4A050}"/>
                </a:ext>
              </a:extLst>
            </p:cNvPr>
            <p:cNvSpPr/>
            <p:nvPr/>
          </p:nvSpPr>
          <p:spPr>
            <a:xfrm>
              <a:off x="5305778" y="2223910"/>
              <a:ext cx="293511" cy="293511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84CB943-16A6-4712-A55F-DF8F0CBB0359}"/>
                </a:ext>
              </a:extLst>
            </p:cNvPr>
            <p:cNvCxnSpPr>
              <a:cxnSpLocks/>
              <a:stCxn id="24" idx="0"/>
            </p:cNvCxnSpPr>
            <p:nvPr/>
          </p:nvCxnSpPr>
          <p:spPr>
            <a:xfrm flipV="1">
              <a:off x="5452534" y="1428045"/>
              <a:ext cx="0" cy="79586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16">
            <a:extLst>
              <a:ext uri="{FF2B5EF4-FFF2-40B4-BE49-F238E27FC236}">
                <a16:creationId xmlns:a16="http://schemas.microsoft.com/office/drawing/2014/main" id="{BE39570D-6F8E-44B0-8697-D17617A83C9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811791" y="3498570"/>
            <a:ext cx="1766666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Light" panose="02040302050405020303" pitchFamily="18" charset="0"/>
                <a:ea typeface="Cambria" panose="02040503050406030204" pitchFamily="18" charset="0"/>
              </a:rPr>
              <a:t>Random Forest</a:t>
            </a:r>
          </a:p>
        </p:txBody>
      </p:sp>
      <p:sp>
        <p:nvSpPr>
          <p:cNvPr id="31" name="Rectangle 16">
            <a:extLst>
              <a:ext uri="{FF2B5EF4-FFF2-40B4-BE49-F238E27FC236}">
                <a16:creationId xmlns:a16="http://schemas.microsoft.com/office/drawing/2014/main" id="{BE39570D-6F8E-44B0-8697-D17617A83C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626007" y="3498570"/>
            <a:ext cx="167596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Light" panose="02040302050405020303" pitchFamily="18" charset="0"/>
                <a:ea typeface="Cambria" panose="02040503050406030204" pitchFamily="18" charset="0"/>
              </a:rPr>
              <a:t>XGBClassifier</a:t>
            </a:r>
          </a:p>
        </p:txBody>
      </p:sp>
      <p:sp>
        <p:nvSpPr>
          <p:cNvPr id="32" name="Rectangle 16">
            <a:extLst>
              <a:ext uri="{FF2B5EF4-FFF2-40B4-BE49-F238E27FC236}">
                <a16:creationId xmlns:a16="http://schemas.microsoft.com/office/drawing/2014/main" id="{BE39570D-6F8E-44B0-8697-D17617A83C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87764" y="3490733"/>
            <a:ext cx="1595078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Light" panose="02040302050405020303" pitchFamily="18" charset="0"/>
                <a:ea typeface="Cambria" panose="02040503050406030204" pitchFamily="18" charset="0"/>
              </a:rPr>
              <a:t>SVM</a:t>
            </a:r>
          </a:p>
        </p:txBody>
      </p:sp>
      <p:sp>
        <p:nvSpPr>
          <p:cNvPr id="33" name="Rectangle 16">
            <a:extLst>
              <a:ext uri="{FF2B5EF4-FFF2-40B4-BE49-F238E27FC236}">
                <a16:creationId xmlns:a16="http://schemas.microsoft.com/office/drawing/2014/main" id="{BE39570D-6F8E-44B0-8697-D17617A83C9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063729" y="3498570"/>
            <a:ext cx="1595078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Light" panose="02040302050405020303" pitchFamily="18" charset="0"/>
                <a:ea typeface="Cambria" panose="02040503050406030204" pitchFamily="18" charset="0"/>
              </a:rPr>
              <a:t>GaussianNB</a:t>
            </a:r>
          </a:p>
        </p:txBody>
      </p:sp>
    </p:spTree>
    <p:extLst>
      <p:ext uri="{BB962C8B-B14F-4D97-AF65-F5344CB8AC3E}">
        <p14:creationId xmlns:p14="http://schemas.microsoft.com/office/powerpoint/2010/main" val="521331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322217" y="357052"/>
            <a:ext cx="4606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800" dirty="0">
                <a:solidFill>
                  <a:schemeClr val="bg1"/>
                </a:solidFill>
              </a:rPr>
              <a:t>Choose the best algorithm</a:t>
            </a:r>
          </a:p>
        </p:txBody>
      </p:sp>
      <p:sp>
        <p:nvSpPr>
          <p:cNvPr id="3" name="مربع نص 2"/>
          <p:cNvSpPr txBox="1"/>
          <p:nvPr/>
        </p:nvSpPr>
        <p:spPr>
          <a:xfrm>
            <a:off x="1288868" y="1097280"/>
            <a:ext cx="322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The first step</a:t>
            </a:r>
          </a:p>
        </p:txBody>
      </p:sp>
      <p:pic>
        <p:nvPicPr>
          <p:cNvPr id="4" name="صورة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52" y="2816008"/>
            <a:ext cx="8695173" cy="3349659"/>
          </a:xfrm>
          <a:prstGeom prst="rect">
            <a:avLst/>
          </a:prstGeom>
        </p:spPr>
      </p:pic>
      <p:sp>
        <p:nvSpPr>
          <p:cNvPr id="5" name="مربع نص 4"/>
          <p:cNvSpPr txBox="1"/>
          <p:nvPr/>
        </p:nvSpPr>
        <p:spPr>
          <a:xfrm>
            <a:off x="1550124" y="1663337"/>
            <a:ext cx="32308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Confusion matrix :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7272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1288868" y="1097280"/>
            <a:ext cx="322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The second step:</a:t>
            </a:r>
          </a:p>
        </p:txBody>
      </p:sp>
      <p:sp>
        <p:nvSpPr>
          <p:cNvPr id="3" name="مربع نص 2"/>
          <p:cNvSpPr txBox="1"/>
          <p:nvPr/>
        </p:nvSpPr>
        <p:spPr>
          <a:xfrm>
            <a:off x="1550124" y="1663337"/>
            <a:ext cx="32308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Cohen_kappa_score :</a:t>
            </a:r>
          </a:p>
          <a:p>
            <a:endParaRPr lang="en-US" dirty="0"/>
          </a:p>
        </p:txBody>
      </p:sp>
      <p:graphicFrame>
        <p:nvGraphicFramePr>
          <p:cNvPr id="4" name="جدول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9953077"/>
              </p:ext>
            </p:extLst>
          </p:nvPr>
        </p:nvGraphicFramePr>
        <p:xfrm>
          <a:off x="1274934" y="2612572"/>
          <a:ext cx="7012142" cy="3866605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3506071">
                  <a:extLst>
                    <a:ext uri="{9D8B030D-6E8A-4147-A177-3AD203B41FA5}">
                      <a16:colId xmlns:a16="http://schemas.microsoft.com/office/drawing/2014/main" val="2625273587"/>
                    </a:ext>
                  </a:extLst>
                </a:gridCol>
                <a:gridCol w="3506071">
                  <a:extLst>
                    <a:ext uri="{9D8B030D-6E8A-4147-A177-3AD203B41FA5}">
                      <a16:colId xmlns:a16="http://schemas.microsoft.com/office/drawing/2014/main" val="3221532368"/>
                    </a:ext>
                  </a:extLst>
                </a:gridCol>
              </a:tblGrid>
              <a:tr h="30898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Model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name</a:t>
                      </a:r>
                      <a:endParaRPr lang="en-US" dirty="0"/>
                    </a:p>
                  </a:txBody>
                  <a:tcP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ohen_kappa_score</a:t>
                      </a:r>
                      <a:endParaRPr lang="en-US" dirty="0"/>
                    </a:p>
                  </a:txBody>
                  <a:tcP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631520"/>
                  </a:ext>
                </a:extLst>
              </a:tr>
              <a:tr h="308981"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ision Tree - without balan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312128"/>
                  </a:ext>
                </a:extLst>
              </a:tr>
              <a:tr h="533309"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ision Tree - Random Under Samp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4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3620805"/>
                  </a:ext>
                </a:extLst>
              </a:tr>
              <a:tr h="666205"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effectLst/>
                        </a:rPr>
                        <a:t>Decision Tree - Random Over Samp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6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3721316"/>
                  </a:ext>
                </a:extLst>
              </a:tr>
              <a:tr h="308981">
                <a:tc>
                  <a:txBody>
                    <a:bodyPr/>
                    <a:lstStyle/>
                    <a:p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ision Tree - SMO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7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5323800"/>
                  </a:ext>
                </a:extLst>
              </a:tr>
              <a:tr h="350083"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dom Forest - SMO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5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9272106"/>
                  </a:ext>
                </a:extLst>
              </a:tr>
              <a:tr h="350083"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effectLst/>
                        </a:rPr>
                        <a:t>XGBClassifier - SMO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6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281787"/>
                  </a:ext>
                </a:extLst>
              </a:tr>
              <a:tr h="350083"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VM - SMO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0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1281291"/>
                  </a:ext>
                </a:extLst>
              </a:tr>
              <a:tr h="350083"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NB - SMO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2344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81890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370658" y="269088"/>
            <a:ext cx="5078530" cy="1138773"/>
            <a:chOff x="980039" y="3130267"/>
            <a:chExt cx="5078530" cy="1362846"/>
          </a:xfrm>
        </p:grpSpPr>
        <p:sp>
          <p:nvSpPr>
            <p:cNvPr id="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62846"/>
              <a:chOff x="1505139" y="4207628"/>
              <a:chExt cx="5078530" cy="1362846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628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Tools</a:t>
                </a:r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8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pic>
        <p:nvPicPr>
          <p:cNvPr id="9" name="صورة 8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490" y="1393437"/>
            <a:ext cx="1752643" cy="1752643"/>
          </a:xfrm>
          <a:prstGeom prst="rect">
            <a:avLst/>
          </a:prstGeom>
        </p:spPr>
      </p:pic>
      <p:pic>
        <p:nvPicPr>
          <p:cNvPr id="10" name="صورة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639" y="1486873"/>
            <a:ext cx="1551855" cy="15657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  <a:softEdge rad="63500"/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صورة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123" y="4264836"/>
            <a:ext cx="1756228" cy="123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12" name="صورة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565" y="3934933"/>
            <a:ext cx="1324247" cy="17323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504939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217714" y="252549"/>
            <a:ext cx="330925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3200" dirty="0">
                <a:solidFill>
                  <a:schemeClr val="bg1"/>
                </a:solidFill>
              </a:rPr>
              <a:t> Python</a:t>
            </a:r>
          </a:p>
          <a:p>
            <a:endParaRPr lang="en-US" dirty="0"/>
          </a:p>
        </p:txBody>
      </p:sp>
      <p:sp>
        <p:nvSpPr>
          <p:cNvPr id="3" name="مربع نص 2"/>
          <p:cNvSpPr txBox="1"/>
          <p:nvPr/>
        </p:nvSpPr>
        <p:spPr>
          <a:xfrm>
            <a:off x="879566" y="1017933"/>
            <a:ext cx="279545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800" dirty="0">
                <a:solidFill>
                  <a:schemeClr val="bg1"/>
                </a:solidFill>
              </a:rPr>
              <a:t>Library</a:t>
            </a:r>
          </a:p>
          <a:p>
            <a:endParaRPr lang="en-US" dirty="0"/>
          </a:p>
        </p:txBody>
      </p:sp>
      <p:sp>
        <p:nvSpPr>
          <p:cNvPr id="4" name="شكل بيضاوي 3"/>
          <p:cNvSpPr/>
          <p:nvPr/>
        </p:nvSpPr>
        <p:spPr>
          <a:xfrm>
            <a:off x="714102" y="1907177"/>
            <a:ext cx="1297577" cy="11930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مربع نص 4"/>
          <p:cNvSpPr txBox="1"/>
          <p:nvPr/>
        </p:nvSpPr>
        <p:spPr>
          <a:xfrm>
            <a:off x="866503" y="2294950"/>
            <a:ext cx="9840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Klearn</a:t>
            </a:r>
          </a:p>
        </p:txBody>
      </p:sp>
      <p:sp>
        <p:nvSpPr>
          <p:cNvPr id="6" name="سداسي 5"/>
          <p:cNvSpPr/>
          <p:nvPr/>
        </p:nvSpPr>
        <p:spPr>
          <a:xfrm>
            <a:off x="0" y="3718560"/>
            <a:ext cx="1079863" cy="836023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مربع نص 6"/>
          <p:cNvSpPr txBox="1"/>
          <p:nvPr/>
        </p:nvSpPr>
        <p:spPr>
          <a:xfrm>
            <a:off x="217714" y="3951905"/>
            <a:ext cx="722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ee</a:t>
            </a:r>
          </a:p>
        </p:txBody>
      </p:sp>
      <p:sp>
        <p:nvSpPr>
          <p:cNvPr id="8" name="سداسي 7"/>
          <p:cNvSpPr/>
          <p:nvPr/>
        </p:nvSpPr>
        <p:spPr>
          <a:xfrm>
            <a:off x="239486" y="5172892"/>
            <a:ext cx="1240972" cy="896830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سداسي 8"/>
          <p:cNvSpPr/>
          <p:nvPr/>
        </p:nvSpPr>
        <p:spPr>
          <a:xfrm>
            <a:off x="2831772" y="5908765"/>
            <a:ext cx="1079863" cy="836023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سداسي 10"/>
          <p:cNvSpPr/>
          <p:nvPr/>
        </p:nvSpPr>
        <p:spPr>
          <a:xfrm>
            <a:off x="3911635" y="5149044"/>
            <a:ext cx="1332407" cy="920678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سداسي 11"/>
          <p:cNvSpPr/>
          <p:nvPr/>
        </p:nvSpPr>
        <p:spPr>
          <a:xfrm>
            <a:off x="4350303" y="3692751"/>
            <a:ext cx="1410993" cy="903577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سداسي 13"/>
          <p:cNvSpPr/>
          <p:nvPr/>
        </p:nvSpPr>
        <p:spPr>
          <a:xfrm>
            <a:off x="1310639" y="5908766"/>
            <a:ext cx="1079863" cy="836023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5" name="سداسي 14"/>
          <p:cNvSpPr/>
          <p:nvPr/>
        </p:nvSpPr>
        <p:spPr>
          <a:xfrm>
            <a:off x="3803257" y="2317057"/>
            <a:ext cx="1707914" cy="956156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سداسي 15"/>
          <p:cNvSpPr/>
          <p:nvPr/>
        </p:nvSpPr>
        <p:spPr>
          <a:xfrm>
            <a:off x="2671144" y="1248176"/>
            <a:ext cx="1565572" cy="925367"/>
          </a:xfrm>
          <a:prstGeom prst="hexagon">
            <a:avLst/>
          </a:prstGeom>
          <a:solidFill>
            <a:srgbClr val="00589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رابط منحني 17"/>
          <p:cNvCxnSpPr/>
          <p:nvPr/>
        </p:nvCxnSpPr>
        <p:spPr>
          <a:xfrm rot="10800000" flipV="1">
            <a:off x="539931" y="3130973"/>
            <a:ext cx="818606" cy="598712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رابط منحني 19"/>
          <p:cNvCxnSpPr>
            <a:stCxn id="4" idx="4"/>
          </p:cNvCxnSpPr>
          <p:nvPr/>
        </p:nvCxnSpPr>
        <p:spPr>
          <a:xfrm rot="5400000">
            <a:off x="114300" y="3924300"/>
            <a:ext cx="2072641" cy="42454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رابط منحني 21"/>
          <p:cNvCxnSpPr>
            <a:stCxn id="4" idx="4"/>
          </p:cNvCxnSpPr>
          <p:nvPr/>
        </p:nvCxnSpPr>
        <p:spPr>
          <a:xfrm rot="16200000" flipH="1">
            <a:off x="202473" y="4260668"/>
            <a:ext cx="2808515" cy="487679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رابط منحني 23"/>
          <p:cNvCxnSpPr>
            <a:endCxn id="9" idx="4"/>
          </p:cNvCxnSpPr>
          <p:nvPr/>
        </p:nvCxnSpPr>
        <p:spPr>
          <a:xfrm rot="16200000" flipH="1">
            <a:off x="797578" y="3665564"/>
            <a:ext cx="2808513" cy="1677888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رابط منحني 28"/>
          <p:cNvCxnSpPr>
            <a:stCxn id="4" idx="4"/>
            <a:endCxn id="11" idx="4"/>
          </p:cNvCxnSpPr>
          <p:nvPr/>
        </p:nvCxnSpPr>
        <p:spPr>
          <a:xfrm rot="16200000" flipH="1">
            <a:off x="1727952" y="2735190"/>
            <a:ext cx="2048793" cy="2778914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رابط منحني 40"/>
          <p:cNvCxnSpPr>
            <a:endCxn id="56" idx="1"/>
          </p:cNvCxnSpPr>
          <p:nvPr/>
        </p:nvCxnSpPr>
        <p:spPr>
          <a:xfrm>
            <a:off x="1715233" y="2966397"/>
            <a:ext cx="2606525" cy="1144365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رابط منحني 46"/>
          <p:cNvCxnSpPr>
            <a:stCxn id="4" idx="6"/>
            <a:endCxn id="15" idx="3"/>
          </p:cNvCxnSpPr>
          <p:nvPr/>
        </p:nvCxnSpPr>
        <p:spPr>
          <a:xfrm>
            <a:off x="2011679" y="2503714"/>
            <a:ext cx="1791578" cy="29142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رابط منحني 50"/>
          <p:cNvCxnSpPr>
            <a:stCxn id="4" idx="6"/>
            <a:endCxn id="16" idx="3"/>
          </p:cNvCxnSpPr>
          <p:nvPr/>
        </p:nvCxnSpPr>
        <p:spPr>
          <a:xfrm flipV="1">
            <a:off x="2011679" y="1710860"/>
            <a:ext cx="659465" cy="792854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مربع نص 53"/>
          <p:cNvSpPr txBox="1"/>
          <p:nvPr/>
        </p:nvSpPr>
        <p:spPr>
          <a:xfrm>
            <a:off x="301538" y="5406237"/>
            <a:ext cx="1129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semble</a:t>
            </a:r>
          </a:p>
        </p:txBody>
      </p:sp>
      <p:sp>
        <p:nvSpPr>
          <p:cNvPr id="55" name="مربع نص 54"/>
          <p:cNvSpPr txBox="1"/>
          <p:nvPr/>
        </p:nvSpPr>
        <p:spPr>
          <a:xfrm>
            <a:off x="1554479" y="6118402"/>
            <a:ext cx="722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vm</a:t>
            </a:r>
          </a:p>
        </p:txBody>
      </p:sp>
      <p:sp>
        <p:nvSpPr>
          <p:cNvPr id="56" name="مربع نص 55"/>
          <p:cNvSpPr txBox="1"/>
          <p:nvPr/>
        </p:nvSpPr>
        <p:spPr>
          <a:xfrm>
            <a:off x="4321758" y="3926096"/>
            <a:ext cx="1563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processing</a:t>
            </a:r>
          </a:p>
        </p:txBody>
      </p:sp>
      <p:sp>
        <p:nvSpPr>
          <p:cNvPr id="57" name="مربع نص 56"/>
          <p:cNvSpPr txBox="1"/>
          <p:nvPr/>
        </p:nvSpPr>
        <p:spPr>
          <a:xfrm>
            <a:off x="3931228" y="5391659"/>
            <a:ext cx="1367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ive_bayes</a:t>
            </a:r>
          </a:p>
        </p:txBody>
      </p:sp>
      <p:sp>
        <p:nvSpPr>
          <p:cNvPr id="58" name="مربع نص 57"/>
          <p:cNvSpPr txBox="1"/>
          <p:nvPr/>
        </p:nvSpPr>
        <p:spPr>
          <a:xfrm>
            <a:off x="2923939" y="6111551"/>
            <a:ext cx="931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trics</a:t>
            </a:r>
          </a:p>
        </p:txBody>
      </p:sp>
      <p:sp>
        <p:nvSpPr>
          <p:cNvPr id="60" name="مربع نص 59"/>
          <p:cNvSpPr txBox="1"/>
          <p:nvPr/>
        </p:nvSpPr>
        <p:spPr>
          <a:xfrm>
            <a:off x="3744422" y="2556282"/>
            <a:ext cx="1766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_selection</a:t>
            </a:r>
          </a:p>
        </p:txBody>
      </p:sp>
      <p:sp>
        <p:nvSpPr>
          <p:cNvPr id="61" name="مربع نص 60"/>
          <p:cNvSpPr txBox="1"/>
          <p:nvPr/>
        </p:nvSpPr>
        <p:spPr>
          <a:xfrm>
            <a:off x="2769324" y="1498539"/>
            <a:ext cx="1467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perimental</a:t>
            </a:r>
          </a:p>
        </p:txBody>
      </p:sp>
      <p:sp>
        <p:nvSpPr>
          <p:cNvPr id="77" name="شكل بيضاوي 76"/>
          <p:cNvSpPr/>
          <p:nvPr/>
        </p:nvSpPr>
        <p:spPr>
          <a:xfrm>
            <a:off x="6363988" y="1505270"/>
            <a:ext cx="1297577" cy="11930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مربع نص 77"/>
          <p:cNvSpPr txBox="1"/>
          <p:nvPr/>
        </p:nvSpPr>
        <p:spPr>
          <a:xfrm>
            <a:off x="6444241" y="1894840"/>
            <a:ext cx="1140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xgboost</a:t>
            </a:r>
          </a:p>
        </p:txBody>
      </p:sp>
      <p:sp>
        <p:nvSpPr>
          <p:cNvPr id="79" name="شكل بيضاوي 78"/>
          <p:cNvSpPr/>
          <p:nvPr/>
        </p:nvSpPr>
        <p:spPr>
          <a:xfrm>
            <a:off x="7184748" y="4470336"/>
            <a:ext cx="1297577" cy="11930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مربع نص 80"/>
          <p:cNvSpPr txBox="1"/>
          <p:nvPr/>
        </p:nvSpPr>
        <p:spPr>
          <a:xfrm>
            <a:off x="7421757" y="4826724"/>
            <a:ext cx="9840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Joblib</a:t>
            </a:r>
          </a:p>
        </p:txBody>
      </p:sp>
      <p:sp>
        <p:nvSpPr>
          <p:cNvPr id="90" name="شكل بيضاوي 89"/>
          <p:cNvSpPr/>
          <p:nvPr/>
        </p:nvSpPr>
        <p:spPr>
          <a:xfrm>
            <a:off x="5761296" y="5507854"/>
            <a:ext cx="1379937" cy="123693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مربع نص 90"/>
          <p:cNvSpPr txBox="1"/>
          <p:nvPr/>
        </p:nvSpPr>
        <p:spPr>
          <a:xfrm>
            <a:off x="5761296" y="5897425"/>
            <a:ext cx="13799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qlalchemy</a:t>
            </a:r>
          </a:p>
        </p:txBody>
      </p:sp>
      <p:sp>
        <p:nvSpPr>
          <p:cNvPr id="93" name="شكل بيضاوي 92"/>
          <p:cNvSpPr/>
          <p:nvPr/>
        </p:nvSpPr>
        <p:spPr>
          <a:xfrm>
            <a:off x="7508563" y="2795135"/>
            <a:ext cx="1297577" cy="11930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مربع نص 93"/>
          <p:cNvSpPr txBox="1"/>
          <p:nvPr/>
        </p:nvSpPr>
        <p:spPr>
          <a:xfrm>
            <a:off x="7665317" y="3165365"/>
            <a:ext cx="1140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andas</a:t>
            </a:r>
          </a:p>
        </p:txBody>
      </p:sp>
    </p:spTree>
    <p:extLst>
      <p:ext uri="{BB962C8B-B14F-4D97-AF65-F5344CB8AC3E}">
        <p14:creationId xmlns:p14="http://schemas.microsoft.com/office/powerpoint/2010/main" val="128764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9F83D49-8F73-4BFD-8C77-445C566F4438}"/>
              </a:ext>
            </a:extLst>
          </p:cNvPr>
          <p:cNvSpPr>
            <a:spLocks/>
          </p:cNvSpPr>
          <p:nvPr/>
        </p:nvSpPr>
        <p:spPr bwMode="auto">
          <a:xfrm>
            <a:off x="7442596" y="856642"/>
            <a:ext cx="1369968" cy="5128988"/>
          </a:xfrm>
          <a:custGeom>
            <a:avLst/>
            <a:gdLst>
              <a:gd name="T0" fmla="*/ 5301 w 5310"/>
              <a:gd name="T1" fmla="*/ 7712 h 19891"/>
              <a:gd name="T2" fmla="*/ 4462 w 5310"/>
              <a:gd name="T3" fmla="*/ 6873 h 19891"/>
              <a:gd name="T4" fmla="*/ 2851 w 5310"/>
              <a:gd name="T5" fmla="*/ 5606 h 19891"/>
              <a:gd name="T6" fmla="*/ 2307 w 5310"/>
              <a:gd name="T7" fmla="*/ 4974 h 19891"/>
              <a:gd name="T8" fmla="*/ 2265 w 5310"/>
              <a:gd name="T9" fmla="*/ 4961 h 19891"/>
              <a:gd name="T10" fmla="*/ 693 w 5310"/>
              <a:gd name="T11" fmla="*/ 4777 h 19891"/>
              <a:gd name="T12" fmla="*/ 567 w 5310"/>
              <a:gd name="T13" fmla="*/ 2889 h 19891"/>
              <a:gd name="T14" fmla="*/ 1528 w 5310"/>
              <a:gd name="T15" fmla="*/ 1928 h 19891"/>
              <a:gd name="T16" fmla="*/ 4025 w 5310"/>
              <a:gd name="T17" fmla="*/ 1772 h 19891"/>
              <a:gd name="T18" fmla="*/ 4167 w 5310"/>
              <a:gd name="T19" fmla="*/ 933 h 19891"/>
              <a:gd name="T20" fmla="*/ 4045 w 5310"/>
              <a:gd name="T21" fmla="*/ 0 h 19891"/>
              <a:gd name="T22" fmla="*/ 4047 w 5310"/>
              <a:gd name="T23" fmla="*/ 1092 h 19891"/>
              <a:gd name="T24" fmla="*/ 3937 w 5310"/>
              <a:gd name="T25" fmla="*/ 1686 h 19891"/>
              <a:gd name="T26" fmla="*/ 1528 w 5310"/>
              <a:gd name="T27" fmla="*/ 1805 h 19891"/>
              <a:gd name="T28" fmla="*/ 444 w 5310"/>
              <a:gd name="T29" fmla="*/ 2889 h 19891"/>
              <a:gd name="T30" fmla="*/ 607 w 5310"/>
              <a:gd name="T31" fmla="*/ 4864 h 19891"/>
              <a:gd name="T32" fmla="*/ 2235 w 5310"/>
              <a:gd name="T33" fmla="*/ 5084 h 19891"/>
              <a:gd name="T34" fmla="*/ 2483 w 5310"/>
              <a:gd name="T35" fmla="*/ 5174 h 19891"/>
              <a:gd name="T36" fmla="*/ 2728 w 5310"/>
              <a:gd name="T37" fmla="*/ 6995 h 19891"/>
              <a:gd name="T38" fmla="*/ 5033 w 5310"/>
              <a:gd name="T39" fmla="*/ 7110 h 19891"/>
              <a:gd name="T40" fmla="*/ 5178 w 5310"/>
              <a:gd name="T41" fmla="*/ 8983 h 19891"/>
              <a:gd name="T42" fmla="*/ 5108 w 5310"/>
              <a:gd name="T43" fmla="*/ 9210 h 19891"/>
              <a:gd name="T44" fmla="*/ 861 w 5310"/>
              <a:gd name="T45" fmla="*/ 9362 h 19891"/>
              <a:gd name="T46" fmla="*/ 0 w 5310"/>
              <a:gd name="T47" fmla="*/ 10445 h 19891"/>
              <a:gd name="T48" fmla="*/ 140 w 5310"/>
              <a:gd name="T49" fmla="*/ 12419 h 19891"/>
              <a:gd name="T50" fmla="*/ 1128 w 5310"/>
              <a:gd name="T51" fmla="*/ 12596 h 19891"/>
              <a:gd name="T52" fmla="*/ 4983 w 5310"/>
              <a:gd name="T53" fmla="*/ 13014 h 19891"/>
              <a:gd name="T54" fmla="*/ 4558 w 5310"/>
              <a:gd name="T55" fmla="*/ 13451 h 19891"/>
              <a:gd name="T56" fmla="*/ 1483 w 5310"/>
              <a:gd name="T57" fmla="*/ 13451 h 19891"/>
              <a:gd name="T58" fmla="*/ 489 w 5310"/>
              <a:gd name="T59" fmla="*/ 14172 h 19891"/>
              <a:gd name="T60" fmla="*/ 1172 w 5310"/>
              <a:gd name="T61" fmla="*/ 15085 h 19891"/>
              <a:gd name="T62" fmla="*/ 4151 w 5310"/>
              <a:gd name="T63" fmla="*/ 15086 h 19891"/>
              <a:gd name="T64" fmla="*/ 4934 w 5310"/>
              <a:gd name="T65" fmla="*/ 15868 h 19891"/>
              <a:gd name="T66" fmla="*/ 4841 w 5310"/>
              <a:gd name="T67" fmla="*/ 18652 h 19891"/>
              <a:gd name="T68" fmla="*/ 2889 w 5310"/>
              <a:gd name="T69" fmla="*/ 19097 h 19891"/>
              <a:gd name="T70" fmla="*/ 3011 w 5310"/>
              <a:gd name="T71" fmla="*/ 19891 h 19891"/>
              <a:gd name="T72" fmla="*/ 4239 w 5310"/>
              <a:gd name="T73" fmla="*/ 19219 h 19891"/>
              <a:gd name="T74" fmla="*/ 5056 w 5310"/>
              <a:gd name="T75" fmla="*/ 18180 h 19891"/>
              <a:gd name="T76" fmla="*/ 4603 w 5310"/>
              <a:gd name="T77" fmla="*/ 15126 h 19891"/>
              <a:gd name="T78" fmla="*/ 4155 w 5310"/>
              <a:gd name="T79" fmla="*/ 14963 h 19891"/>
              <a:gd name="T80" fmla="*/ 726 w 5310"/>
              <a:gd name="T81" fmla="*/ 14835 h 19891"/>
              <a:gd name="T82" fmla="*/ 782 w 5310"/>
              <a:gd name="T83" fmla="*/ 13661 h 19891"/>
              <a:gd name="T84" fmla="*/ 4549 w 5310"/>
              <a:gd name="T85" fmla="*/ 13574 h 19891"/>
              <a:gd name="T86" fmla="*/ 4951 w 5310"/>
              <a:gd name="T87" fmla="*/ 13425 h 19891"/>
              <a:gd name="T88" fmla="*/ 4800 w 5310"/>
              <a:gd name="T89" fmla="*/ 12540 h 19891"/>
              <a:gd name="T90" fmla="*/ 1128 w 5310"/>
              <a:gd name="T91" fmla="*/ 12473 h 19891"/>
              <a:gd name="T92" fmla="*/ 226 w 5310"/>
              <a:gd name="T93" fmla="*/ 12332 h 19891"/>
              <a:gd name="T94" fmla="*/ 122 w 5310"/>
              <a:gd name="T95" fmla="*/ 10445 h 19891"/>
              <a:gd name="T96" fmla="*/ 861 w 5310"/>
              <a:gd name="T97" fmla="*/ 9484 h 19891"/>
              <a:gd name="T98" fmla="*/ 5200 w 5310"/>
              <a:gd name="T99" fmla="*/ 9290 h 19891"/>
              <a:gd name="T100" fmla="*/ 5301 w 5310"/>
              <a:gd name="T101" fmla="*/ 8972 h 198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310" h="19891">
                <a:moveTo>
                  <a:pt x="5301" y="8972"/>
                </a:moveTo>
                <a:cubicBezTo>
                  <a:pt x="5301" y="7712"/>
                  <a:pt x="5301" y="7712"/>
                  <a:pt x="5301" y="7712"/>
                </a:cubicBezTo>
                <a:cubicBezTo>
                  <a:pt x="5301" y="7339"/>
                  <a:pt x="5247" y="7138"/>
                  <a:pt x="5115" y="7019"/>
                </a:cubicBezTo>
                <a:cubicBezTo>
                  <a:pt x="4980" y="6897"/>
                  <a:pt x="4773" y="6873"/>
                  <a:pt x="4462" y="6873"/>
                </a:cubicBezTo>
                <a:cubicBezTo>
                  <a:pt x="2851" y="6873"/>
                  <a:pt x="2851" y="6873"/>
                  <a:pt x="2851" y="6873"/>
                </a:cubicBezTo>
                <a:cubicBezTo>
                  <a:pt x="2851" y="5606"/>
                  <a:pt x="2851" y="5606"/>
                  <a:pt x="2851" y="5606"/>
                </a:cubicBezTo>
                <a:cubicBezTo>
                  <a:pt x="2851" y="5374"/>
                  <a:pt x="2745" y="5188"/>
                  <a:pt x="2546" y="5069"/>
                </a:cubicBezTo>
                <a:cubicBezTo>
                  <a:pt x="2456" y="5016"/>
                  <a:pt x="2367" y="4988"/>
                  <a:pt x="2307" y="4974"/>
                </a:cubicBezTo>
                <a:cubicBezTo>
                  <a:pt x="2265" y="4963"/>
                  <a:pt x="2265" y="4963"/>
                  <a:pt x="2265" y="4963"/>
                </a:cubicBezTo>
                <a:cubicBezTo>
                  <a:pt x="2265" y="4961"/>
                  <a:pt x="2265" y="4961"/>
                  <a:pt x="2265" y="4961"/>
                </a:cubicBezTo>
                <a:cubicBezTo>
                  <a:pt x="1528" y="4961"/>
                  <a:pt x="1528" y="4961"/>
                  <a:pt x="1528" y="4961"/>
                </a:cubicBezTo>
                <a:cubicBezTo>
                  <a:pt x="1077" y="4961"/>
                  <a:pt x="820" y="4905"/>
                  <a:pt x="693" y="4777"/>
                </a:cubicBezTo>
                <a:cubicBezTo>
                  <a:pt x="576" y="4659"/>
                  <a:pt x="567" y="4473"/>
                  <a:pt x="567" y="4222"/>
                </a:cubicBezTo>
                <a:cubicBezTo>
                  <a:pt x="567" y="2889"/>
                  <a:pt x="567" y="2889"/>
                  <a:pt x="567" y="2889"/>
                </a:cubicBezTo>
                <a:cubicBezTo>
                  <a:pt x="567" y="2451"/>
                  <a:pt x="633" y="2200"/>
                  <a:pt x="780" y="2074"/>
                </a:cubicBezTo>
                <a:cubicBezTo>
                  <a:pt x="925" y="1952"/>
                  <a:pt x="1164" y="1928"/>
                  <a:pt x="1528" y="1928"/>
                </a:cubicBezTo>
                <a:cubicBezTo>
                  <a:pt x="3528" y="1928"/>
                  <a:pt x="3528" y="1928"/>
                  <a:pt x="3528" y="1928"/>
                </a:cubicBezTo>
                <a:cubicBezTo>
                  <a:pt x="3760" y="1928"/>
                  <a:pt x="3922" y="1877"/>
                  <a:pt x="4025" y="1772"/>
                </a:cubicBezTo>
                <a:cubicBezTo>
                  <a:pt x="4179" y="1614"/>
                  <a:pt x="4174" y="1360"/>
                  <a:pt x="4169" y="1091"/>
                </a:cubicBezTo>
                <a:cubicBezTo>
                  <a:pt x="4168" y="1042"/>
                  <a:pt x="4167" y="987"/>
                  <a:pt x="4167" y="933"/>
                </a:cubicBezTo>
                <a:cubicBezTo>
                  <a:pt x="4167" y="0"/>
                  <a:pt x="4167" y="0"/>
                  <a:pt x="4167" y="0"/>
                </a:cubicBezTo>
                <a:cubicBezTo>
                  <a:pt x="4045" y="0"/>
                  <a:pt x="4045" y="0"/>
                  <a:pt x="4045" y="0"/>
                </a:cubicBezTo>
                <a:cubicBezTo>
                  <a:pt x="4045" y="933"/>
                  <a:pt x="4045" y="933"/>
                  <a:pt x="4045" y="933"/>
                </a:cubicBezTo>
                <a:cubicBezTo>
                  <a:pt x="4045" y="987"/>
                  <a:pt x="4046" y="1040"/>
                  <a:pt x="4047" y="1092"/>
                </a:cubicBezTo>
                <a:cubicBezTo>
                  <a:pt x="4047" y="1093"/>
                  <a:pt x="4047" y="1093"/>
                  <a:pt x="4047" y="1093"/>
                </a:cubicBezTo>
                <a:cubicBezTo>
                  <a:pt x="4052" y="1347"/>
                  <a:pt x="4056" y="1565"/>
                  <a:pt x="3937" y="1686"/>
                </a:cubicBezTo>
                <a:cubicBezTo>
                  <a:pt x="3859" y="1766"/>
                  <a:pt x="3725" y="1805"/>
                  <a:pt x="3528" y="1805"/>
                </a:cubicBezTo>
                <a:cubicBezTo>
                  <a:pt x="1528" y="1805"/>
                  <a:pt x="1528" y="1805"/>
                  <a:pt x="1528" y="1805"/>
                </a:cubicBezTo>
                <a:cubicBezTo>
                  <a:pt x="1126" y="1805"/>
                  <a:pt x="875" y="1833"/>
                  <a:pt x="701" y="1981"/>
                </a:cubicBezTo>
                <a:cubicBezTo>
                  <a:pt x="521" y="2134"/>
                  <a:pt x="444" y="2405"/>
                  <a:pt x="444" y="2889"/>
                </a:cubicBezTo>
                <a:cubicBezTo>
                  <a:pt x="444" y="4222"/>
                  <a:pt x="444" y="4222"/>
                  <a:pt x="444" y="4222"/>
                </a:cubicBezTo>
                <a:cubicBezTo>
                  <a:pt x="444" y="4493"/>
                  <a:pt x="456" y="4713"/>
                  <a:pt x="607" y="4864"/>
                </a:cubicBezTo>
                <a:cubicBezTo>
                  <a:pt x="760" y="5018"/>
                  <a:pt x="1036" y="5084"/>
                  <a:pt x="1528" y="5084"/>
                </a:cubicBezTo>
                <a:cubicBezTo>
                  <a:pt x="2235" y="5084"/>
                  <a:pt x="2235" y="5084"/>
                  <a:pt x="2235" y="5084"/>
                </a:cubicBezTo>
                <a:cubicBezTo>
                  <a:pt x="2240" y="5084"/>
                  <a:pt x="2240" y="5084"/>
                  <a:pt x="2240" y="5084"/>
                </a:cubicBezTo>
                <a:cubicBezTo>
                  <a:pt x="2270" y="5090"/>
                  <a:pt x="2377" y="5111"/>
                  <a:pt x="2483" y="5174"/>
                </a:cubicBezTo>
                <a:cubicBezTo>
                  <a:pt x="2646" y="5271"/>
                  <a:pt x="2728" y="5416"/>
                  <a:pt x="2728" y="5606"/>
                </a:cubicBezTo>
                <a:cubicBezTo>
                  <a:pt x="2728" y="6995"/>
                  <a:pt x="2728" y="6995"/>
                  <a:pt x="2728" y="6995"/>
                </a:cubicBezTo>
                <a:cubicBezTo>
                  <a:pt x="4462" y="6995"/>
                  <a:pt x="4462" y="6995"/>
                  <a:pt x="4462" y="6995"/>
                </a:cubicBezTo>
                <a:cubicBezTo>
                  <a:pt x="4743" y="6995"/>
                  <a:pt x="4927" y="7014"/>
                  <a:pt x="5033" y="7110"/>
                </a:cubicBezTo>
                <a:cubicBezTo>
                  <a:pt x="5136" y="7203"/>
                  <a:pt x="5178" y="7377"/>
                  <a:pt x="5178" y="7712"/>
                </a:cubicBezTo>
                <a:cubicBezTo>
                  <a:pt x="5178" y="8983"/>
                  <a:pt x="5178" y="8983"/>
                  <a:pt x="5178" y="8983"/>
                </a:cubicBezTo>
                <a:cubicBezTo>
                  <a:pt x="5179" y="8988"/>
                  <a:pt x="5179" y="8988"/>
                  <a:pt x="5179" y="8988"/>
                </a:cubicBezTo>
                <a:cubicBezTo>
                  <a:pt x="5179" y="8989"/>
                  <a:pt x="5195" y="9109"/>
                  <a:pt x="5108" y="9210"/>
                </a:cubicBezTo>
                <a:cubicBezTo>
                  <a:pt x="5022" y="9309"/>
                  <a:pt x="4860" y="9362"/>
                  <a:pt x="4639" y="9362"/>
                </a:cubicBezTo>
                <a:cubicBezTo>
                  <a:pt x="861" y="9362"/>
                  <a:pt x="861" y="9362"/>
                  <a:pt x="861" y="9362"/>
                </a:cubicBezTo>
                <a:cubicBezTo>
                  <a:pt x="544" y="9362"/>
                  <a:pt x="309" y="9374"/>
                  <a:pt x="171" y="9532"/>
                </a:cubicBezTo>
                <a:cubicBezTo>
                  <a:pt x="45" y="9675"/>
                  <a:pt x="0" y="9914"/>
                  <a:pt x="0" y="10445"/>
                </a:cubicBezTo>
                <a:cubicBezTo>
                  <a:pt x="0" y="12001"/>
                  <a:pt x="0" y="12001"/>
                  <a:pt x="0" y="12001"/>
                </a:cubicBezTo>
                <a:cubicBezTo>
                  <a:pt x="0" y="12188"/>
                  <a:pt x="46" y="12325"/>
                  <a:pt x="140" y="12419"/>
                </a:cubicBezTo>
                <a:cubicBezTo>
                  <a:pt x="305" y="12583"/>
                  <a:pt x="587" y="12596"/>
                  <a:pt x="998" y="12596"/>
                </a:cubicBezTo>
                <a:cubicBezTo>
                  <a:pt x="1128" y="12596"/>
                  <a:pt x="1128" y="12596"/>
                  <a:pt x="1128" y="12596"/>
                </a:cubicBezTo>
                <a:cubicBezTo>
                  <a:pt x="4506" y="12596"/>
                  <a:pt x="4506" y="12596"/>
                  <a:pt x="4506" y="12596"/>
                </a:cubicBezTo>
                <a:cubicBezTo>
                  <a:pt x="4671" y="12596"/>
                  <a:pt x="4983" y="12685"/>
                  <a:pt x="4983" y="13014"/>
                </a:cubicBezTo>
                <a:cubicBezTo>
                  <a:pt x="4983" y="13154"/>
                  <a:pt x="4945" y="13262"/>
                  <a:pt x="4868" y="13336"/>
                </a:cubicBezTo>
                <a:cubicBezTo>
                  <a:pt x="4755" y="13446"/>
                  <a:pt x="4590" y="13451"/>
                  <a:pt x="4558" y="13451"/>
                </a:cubicBezTo>
                <a:cubicBezTo>
                  <a:pt x="4552" y="13451"/>
                  <a:pt x="4552" y="13451"/>
                  <a:pt x="4552" y="13451"/>
                </a:cubicBezTo>
                <a:cubicBezTo>
                  <a:pt x="1483" y="13451"/>
                  <a:pt x="1483" y="13451"/>
                  <a:pt x="1483" y="13451"/>
                </a:cubicBezTo>
                <a:cubicBezTo>
                  <a:pt x="1127" y="13451"/>
                  <a:pt x="881" y="13459"/>
                  <a:pt x="719" y="13557"/>
                </a:cubicBezTo>
                <a:cubicBezTo>
                  <a:pt x="517" y="13679"/>
                  <a:pt x="489" y="13925"/>
                  <a:pt x="489" y="14172"/>
                </a:cubicBezTo>
                <a:cubicBezTo>
                  <a:pt x="489" y="14573"/>
                  <a:pt x="528" y="14779"/>
                  <a:pt x="630" y="14910"/>
                </a:cubicBezTo>
                <a:cubicBezTo>
                  <a:pt x="743" y="15055"/>
                  <a:pt x="929" y="15085"/>
                  <a:pt x="1172" y="15085"/>
                </a:cubicBezTo>
                <a:cubicBezTo>
                  <a:pt x="4145" y="15085"/>
                  <a:pt x="4145" y="15085"/>
                  <a:pt x="4145" y="15085"/>
                </a:cubicBezTo>
                <a:cubicBezTo>
                  <a:pt x="4151" y="15086"/>
                  <a:pt x="4151" y="15086"/>
                  <a:pt x="4151" y="15086"/>
                </a:cubicBezTo>
                <a:cubicBezTo>
                  <a:pt x="4200" y="15095"/>
                  <a:pt x="4375" y="15134"/>
                  <a:pt x="4548" y="15236"/>
                </a:cubicBezTo>
                <a:cubicBezTo>
                  <a:pt x="4804" y="15386"/>
                  <a:pt x="4934" y="15599"/>
                  <a:pt x="4934" y="15868"/>
                </a:cubicBezTo>
                <a:cubicBezTo>
                  <a:pt x="4934" y="18180"/>
                  <a:pt x="4934" y="18180"/>
                  <a:pt x="4934" y="18180"/>
                </a:cubicBezTo>
                <a:cubicBezTo>
                  <a:pt x="4934" y="18190"/>
                  <a:pt x="4932" y="18422"/>
                  <a:pt x="4841" y="18652"/>
                </a:cubicBezTo>
                <a:cubicBezTo>
                  <a:pt x="4726" y="18947"/>
                  <a:pt x="4523" y="19097"/>
                  <a:pt x="4239" y="19097"/>
                </a:cubicBezTo>
                <a:cubicBezTo>
                  <a:pt x="2889" y="19097"/>
                  <a:pt x="2889" y="19097"/>
                  <a:pt x="2889" y="19097"/>
                </a:cubicBezTo>
                <a:cubicBezTo>
                  <a:pt x="2889" y="19891"/>
                  <a:pt x="2889" y="19891"/>
                  <a:pt x="2889" y="19891"/>
                </a:cubicBezTo>
                <a:cubicBezTo>
                  <a:pt x="3011" y="19891"/>
                  <a:pt x="3011" y="19891"/>
                  <a:pt x="3011" y="19891"/>
                </a:cubicBezTo>
                <a:cubicBezTo>
                  <a:pt x="3011" y="19219"/>
                  <a:pt x="3011" y="19219"/>
                  <a:pt x="3011" y="19219"/>
                </a:cubicBezTo>
                <a:cubicBezTo>
                  <a:pt x="4239" y="19219"/>
                  <a:pt x="4239" y="19219"/>
                  <a:pt x="4239" y="19219"/>
                </a:cubicBezTo>
                <a:cubicBezTo>
                  <a:pt x="4576" y="19219"/>
                  <a:pt x="4824" y="19036"/>
                  <a:pt x="4958" y="18691"/>
                </a:cubicBezTo>
                <a:cubicBezTo>
                  <a:pt x="5055" y="18439"/>
                  <a:pt x="5056" y="18190"/>
                  <a:pt x="5056" y="18180"/>
                </a:cubicBezTo>
                <a:cubicBezTo>
                  <a:pt x="5056" y="15868"/>
                  <a:pt x="5056" y="15868"/>
                  <a:pt x="5056" y="15868"/>
                </a:cubicBezTo>
                <a:cubicBezTo>
                  <a:pt x="5056" y="15555"/>
                  <a:pt x="4900" y="15298"/>
                  <a:pt x="4603" y="15126"/>
                </a:cubicBezTo>
                <a:cubicBezTo>
                  <a:pt x="4385" y="15000"/>
                  <a:pt x="4169" y="14965"/>
                  <a:pt x="4160" y="14963"/>
                </a:cubicBezTo>
                <a:cubicBezTo>
                  <a:pt x="4155" y="14963"/>
                  <a:pt x="4155" y="14963"/>
                  <a:pt x="4155" y="14963"/>
                </a:cubicBezTo>
                <a:cubicBezTo>
                  <a:pt x="1172" y="14963"/>
                  <a:pt x="1172" y="14963"/>
                  <a:pt x="1172" y="14963"/>
                </a:cubicBezTo>
                <a:cubicBezTo>
                  <a:pt x="959" y="14963"/>
                  <a:pt x="809" y="14941"/>
                  <a:pt x="726" y="14835"/>
                </a:cubicBezTo>
                <a:cubicBezTo>
                  <a:pt x="645" y="14729"/>
                  <a:pt x="611" y="14538"/>
                  <a:pt x="611" y="14172"/>
                </a:cubicBezTo>
                <a:cubicBezTo>
                  <a:pt x="611" y="13814"/>
                  <a:pt x="693" y="13715"/>
                  <a:pt x="782" y="13661"/>
                </a:cubicBezTo>
                <a:cubicBezTo>
                  <a:pt x="917" y="13580"/>
                  <a:pt x="1158" y="13574"/>
                  <a:pt x="1483" y="13574"/>
                </a:cubicBezTo>
                <a:cubicBezTo>
                  <a:pt x="4549" y="13574"/>
                  <a:pt x="4549" y="13574"/>
                  <a:pt x="4549" y="13574"/>
                </a:cubicBezTo>
                <a:cubicBezTo>
                  <a:pt x="4552" y="13574"/>
                  <a:pt x="4554" y="13574"/>
                  <a:pt x="4556" y="13574"/>
                </a:cubicBezTo>
                <a:cubicBezTo>
                  <a:pt x="4597" y="13574"/>
                  <a:pt x="4804" y="13567"/>
                  <a:pt x="4951" y="13425"/>
                </a:cubicBezTo>
                <a:cubicBezTo>
                  <a:pt x="5054" y="13327"/>
                  <a:pt x="5106" y="13189"/>
                  <a:pt x="5106" y="13014"/>
                </a:cubicBezTo>
                <a:cubicBezTo>
                  <a:pt x="5106" y="12796"/>
                  <a:pt x="4997" y="12628"/>
                  <a:pt x="4800" y="12540"/>
                </a:cubicBezTo>
                <a:cubicBezTo>
                  <a:pt x="4656" y="12475"/>
                  <a:pt x="4512" y="12473"/>
                  <a:pt x="4506" y="12473"/>
                </a:cubicBezTo>
                <a:cubicBezTo>
                  <a:pt x="1128" y="12473"/>
                  <a:pt x="1128" y="12473"/>
                  <a:pt x="1128" y="12473"/>
                </a:cubicBezTo>
                <a:cubicBezTo>
                  <a:pt x="1001" y="12474"/>
                  <a:pt x="1001" y="12474"/>
                  <a:pt x="1001" y="12474"/>
                </a:cubicBezTo>
                <a:cubicBezTo>
                  <a:pt x="619" y="12474"/>
                  <a:pt x="358" y="12464"/>
                  <a:pt x="226" y="12332"/>
                </a:cubicBezTo>
                <a:cubicBezTo>
                  <a:pt x="156" y="12262"/>
                  <a:pt x="122" y="12154"/>
                  <a:pt x="122" y="12001"/>
                </a:cubicBezTo>
                <a:cubicBezTo>
                  <a:pt x="122" y="10445"/>
                  <a:pt x="122" y="10445"/>
                  <a:pt x="122" y="10445"/>
                </a:cubicBezTo>
                <a:cubicBezTo>
                  <a:pt x="122" y="9961"/>
                  <a:pt x="162" y="9728"/>
                  <a:pt x="262" y="9613"/>
                </a:cubicBezTo>
                <a:cubicBezTo>
                  <a:pt x="359" y="9503"/>
                  <a:pt x="525" y="9484"/>
                  <a:pt x="861" y="9484"/>
                </a:cubicBezTo>
                <a:cubicBezTo>
                  <a:pt x="4639" y="9484"/>
                  <a:pt x="4639" y="9484"/>
                  <a:pt x="4639" y="9484"/>
                </a:cubicBezTo>
                <a:cubicBezTo>
                  <a:pt x="4901" y="9484"/>
                  <a:pt x="5089" y="9419"/>
                  <a:pt x="5200" y="9290"/>
                </a:cubicBezTo>
                <a:cubicBezTo>
                  <a:pt x="5310" y="9162"/>
                  <a:pt x="5305" y="9018"/>
                  <a:pt x="5301" y="8977"/>
                </a:cubicBezTo>
                <a:lnTo>
                  <a:pt x="5301" y="89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Oval 26">
            <a:extLst>
              <a:ext uri="{FF2B5EF4-FFF2-40B4-BE49-F238E27FC236}">
                <a16:creationId xmlns:a16="http://schemas.microsoft.com/office/drawing/2014/main" id="{1EAD716D-EDD0-49BA-85E4-43EDE4D78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4832" y="1224638"/>
            <a:ext cx="340489" cy="34048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" name="Oval 28">
            <a:extLst>
              <a:ext uri="{FF2B5EF4-FFF2-40B4-BE49-F238E27FC236}">
                <a16:creationId xmlns:a16="http://schemas.microsoft.com/office/drawing/2014/main" id="{7FCF62DE-6D5C-4242-AA9A-5A6D173B2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3899" y="3104689"/>
            <a:ext cx="394421" cy="394205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Freeform 33">
            <a:extLst>
              <a:ext uri="{FF2B5EF4-FFF2-40B4-BE49-F238E27FC236}">
                <a16:creationId xmlns:a16="http://schemas.microsoft.com/office/drawing/2014/main" id="{636841D2-B8FB-475A-BE39-209B17A2A356}"/>
              </a:ext>
            </a:extLst>
          </p:cNvPr>
          <p:cNvSpPr>
            <a:spLocks/>
          </p:cNvSpPr>
          <p:nvPr/>
        </p:nvSpPr>
        <p:spPr bwMode="auto">
          <a:xfrm>
            <a:off x="7516022" y="2546522"/>
            <a:ext cx="255583" cy="324244"/>
          </a:xfrm>
          <a:custGeom>
            <a:avLst/>
            <a:gdLst>
              <a:gd name="T0" fmla="*/ 900 w 991"/>
              <a:gd name="T1" fmla="*/ 538 h 1257"/>
              <a:gd name="T2" fmla="*/ 812 w 991"/>
              <a:gd name="T3" fmla="*/ 622 h 1257"/>
              <a:gd name="T4" fmla="*/ 811 w 991"/>
              <a:gd name="T5" fmla="*/ 622 h 1257"/>
              <a:gd name="T6" fmla="*/ 811 w 991"/>
              <a:gd name="T7" fmla="*/ 538 h 1257"/>
              <a:gd name="T8" fmla="*/ 721 w 991"/>
              <a:gd name="T9" fmla="*/ 448 h 1257"/>
              <a:gd name="T10" fmla="*/ 631 w 991"/>
              <a:gd name="T11" fmla="*/ 538 h 1257"/>
              <a:gd name="T12" fmla="*/ 631 w 991"/>
              <a:gd name="T13" fmla="*/ 449 h 1257"/>
              <a:gd name="T14" fmla="*/ 541 w 991"/>
              <a:gd name="T15" fmla="*/ 359 h 1257"/>
              <a:gd name="T16" fmla="*/ 451 w 991"/>
              <a:gd name="T17" fmla="*/ 449 h 1257"/>
              <a:gd name="T18" fmla="*/ 451 w 991"/>
              <a:gd name="T19" fmla="*/ 90 h 1257"/>
              <a:gd name="T20" fmla="*/ 361 w 991"/>
              <a:gd name="T21" fmla="*/ 0 h 1257"/>
              <a:gd name="T22" fmla="*/ 271 w 991"/>
              <a:gd name="T23" fmla="*/ 90 h 1257"/>
              <a:gd name="T24" fmla="*/ 271 w 991"/>
              <a:gd name="T25" fmla="*/ 147 h 1257"/>
              <a:gd name="T26" fmla="*/ 272 w 991"/>
              <a:gd name="T27" fmla="*/ 629 h 1257"/>
              <a:gd name="T28" fmla="*/ 272 w 991"/>
              <a:gd name="T29" fmla="*/ 693 h 1257"/>
              <a:gd name="T30" fmla="*/ 252 w 991"/>
              <a:gd name="T31" fmla="*/ 717 h 1257"/>
              <a:gd name="T32" fmla="*/ 223 w 991"/>
              <a:gd name="T33" fmla="*/ 707 h 1257"/>
              <a:gd name="T34" fmla="*/ 65 w 991"/>
              <a:gd name="T35" fmla="*/ 536 h 1257"/>
              <a:gd name="T36" fmla="*/ 11 w 991"/>
              <a:gd name="T37" fmla="*/ 567 h 1257"/>
              <a:gd name="T38" fmla="*/ 11 w 991"/>
              <a:gd name="T39" fmla="*/ 629 h 1257"/>
              <a:gd name="T40" fmla="*/ 293 w 991"/>
              <a:gd name="T41" fmla="*/ 1234 h 1257"/>
              <a:gd name="T42" fmla="*/ 332 w 991"/>
              <a:gd name="T43" fmla="*/ 1257 h 1257"/>
              <a:gd name="T44" fmla="*/ 857 w 991"/>
              <a:gd name="T45" fmla="*/ 1256 h 1257"/>
              <a:gd name="T46" fmla="*/ 991 w 991"/>
              <a:gd name="T47" fmla="*/ 1121 h 1257"/>
              <a:gd name="T48" fmla="*/ 990 w 991"/>
              <a:gd name="T49" fmla="*/ 627 h 1257"/>
              <a:gd name="T50" fmla="*/ 900 w 991"/>
              <a:gd name="T51" fmla="*/ 538 h 1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91" h="1257">
                <a:moveTo>
                  <a:pt x="900" y="538"/>
                </a:moveTo>
                <a:cubicBezTo>
                  <a:pt x="853" y="538"/>
                  <a:pt x="815" y="575"/>
                  <a:pt x="812" y="622"/>
                </a:cubicBezTo>
                <a:cubicBezTo>
                  <a:pt x="811" y="622"/>
                  <a:pt x="811" y="622"/>
                  <a:pt x="811" y="622"/>
                </a:cubicBezTo>
                <a:cubicBezTo>
                  <a:pt x="811" y="538"/>
                  <a:pt x="811" y="538"/>
                  <a:pt x="811" y="538"/>
                </a:cubicBezTo>
                <a:cubicBezTo>
                  <a:pt x="810" y="489"/>
                  <a:pt x="770" y="448"/>
                  <a:pt x="721" y="448"/>
                </a:cubicBezTo>
                <a:cubicBezTo>
                  <a:pt x="671" y="448"/>
                  <a:pt x="631" y="489"/>
                  <a:pt x="631" y="538"/>
                </a:cubicBezTo>
                <a:cubicBezTo>
                  <a:pt x="631" y="449"/>
                  <a:pt x="631" y="449"/>
                  <a:pt x="631" y="449"/>
                </a:cubicBezTo>
                <a:cubicBezTo>
                  <a:pt x="631" y="399"/>
                  <a:pt x="590" y="359"/>
                  <a:pt x="541" y="359"/>
                </a:cubicBezTo>
                <a:cubicBezTo>
                  <a:pt x="492" y="359"/>
                  <a:pt x="451" y="399"/>
                  <a:pt x="451" y="449"/>
                </a:cubicBezTo>
                <a:cubicBezTo>
                  <a:pt x="451" y="90"/>
                  <a:pt x="451" y="90"/>
                  <a:pt x="451" y="90"/>
                </a:cubicBezTo>
                <a:cubicBezTo>
                  <a:pt x="451" y="41"/>
                  <a:pt x="410" y="0"/>
                  <a:pt x="361" y="0"/>
                </a:cubicBezTo>
                <a:cubicBezTo>
                  <a:pt x="312" y="0"/>
                  <a:pt x="271" y="41"/>
                  <a:pt x="271" y="90"/>
                </a:cubicBezTo>
                <a:cubicBezTo>
                  <a:pt x="271" y="147"/>
                  <a:pt x="271" y="147"/>
                  <a:pt x="271" y="147"/>
                </a:cubicBezTo>
                <a:cubicBezTo>
                  <a:pt x="272" y="629"/>
                  <a:pt x="272" y="629"/>
                  <a:pt x="272" y="629"/>
                </a:cubicBezTo>
                <a:cubicBezTo>
                  <a:pt x="272" y="693"/>
                  <a:pt x="272" y="693"/>
                  <a:pt x="272" y="693"/>
                </a:cubicBezTo>
                <a:cubicBezTo>
                  <a:pt x="272" y="704"/>
                  <a:pt x="262" y="714"/>
                  <a:pt x="252" y="717"/>
                </a:cubicBezTo>
                <a:cubicBezTo>
                  <a:pt x="241" y="720"/>
                  <a:pt x="229" y="716"/>
                  <a:pt x="223" y="707"/>
                </a:cubicBezTo>
                <a:cubicBezTo>
                  <a:pt x="156" y="621"/>
                  <a:pt x="160" y="536"/>
                  <a:pt x="65" y="536"/>
                </a:cubicBezTo>
                <a:cubicBezTo>
                  <a:pt x="43" y="537"/>
                  <a:pt x="23" y="548"/>
                  <a:pt x="11" y="567"/>
                </a:cubicBezTo>
                <a:cubicBezTo>
                  <a:pt x="0" y="586"/>
                  <a:pt x="0" y="610"/>
                  <a:pt x="11" y="629"/>
                </a:cubicBezTo>
                <a:cubicBezTo>
                  <a:pt x="293" y="1234"/>
                  <a:pt x="293" y="1234"/>
                  <a:pt x="293" y="1234"/>
                </a:cubicBezTo>
                <a:cubicBezTo>
                  <a:pt x="301" y="1248"/>
                  <a:pt x="316" y="1257"/>
                  <a:pt x="332" y="1257"/>
                </a:cubicBezTo>
                <a:cubicBezTo>
                  <a:pt x="411" y="1257"/>
                  <a:pt x="688" y="1256"/>
                  <a:pt x="857" y="1256"/>
                </a:cubicBezTo>
                <a:cubicBezTo>
                  <a:pt x="931" y="1256"/>
                  <a:pt x="991" y="1195"/>
                  <a:pt x="991" y="1121"/>
                </a:cubicBezTo>
                <a:cubicBezTo>
                  <a:pt x="991" y="880"/>
                  <a:pt x="990" y="627"/>
                  <a:pt x="990" y="627"/>
                </a:cubicBezTo>
                <a:cubicBezTo>
                  <a:pt x="990" y="578"/>
                  <a:pt x="950" y="538"/>
                  <a:pt x="900" y="53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reeform 34">
            <a:extLst>
              <a:ext uri="{FF2B5EF4-FFF2-40B4-BE49-F238E27FC236}">
                <a16:creationId xmlns:a16="http://schemas.microsoft.com/office/drawing/2014/main" id="{3207CECB-992E-46E6-A7E6-858087F5A891}"/>
              </a:ext>
            </a:extLst>
          </p:cNvPr>
          <p:cNvSpPr>
            <a:spLocks/>
          </p:cNvSpPr>
          <p:nvPr/>
        </p:nvSpPr>
        <p:spPr bwMode="auto">
          <a:xfrm>
            <a:off x="8307030" y="1836953"/>
            <a:ext cx="417597" cy="265547"/>
          </a:xfrm>
          <a:custGeom>
            <a:avLst/>
            <a:gdLst>
              <a:gd name="T0" fmla="*/ 366 w 1619"/>
              <a:gd name="T1" fmla="*/ 1029 h 1030"/>
              <a:gd name="T2" fmla="*/ 366 w 1619"/>
              <a:gd name="T3" fmla="*/ 1029 h 1030"/>
              <a:gd name="T4" fmla="*/ 408 w 1619"/>
              <a:gd name="T5" fmla="*/ 1028 h 1030"/>
              <a:gd name="T6" fmla="*/ 410 w 1619"/>
              <a:gd name="T7" fmla="*/ 1028 h 1030"/>
              <a:gd name="T8" fmla="*/ 760 w 1619"/>
              <a:gd name="T9" fmla="*/ 1021 h 1030"/>
              <a:gd name="T10" fmla="*/ 805 w 1619"/>
              <a:gd name="T11" fmla="*/ 1020 h 1030"/>
              <a:gd name="T12" fmla="*/ 811 w 1619"/>
              <a:gd name="T13" fmla="*/ 1019 h 1030"/>
              <a:gd name="T14" fmla="*/ 1034 w 1619"/>
              <a:gd name="T15" fmla="*/ 1015 h 1030"/>
              <a:gd name="T16" fmla="*/ 1466 w 1619"/>
              <a:gd name="T17" fmla="*/ 1005 h 1030"/>
              <a:gd name="T18" fmla="*/ 1619 w 1619"/>
              <a:gd name="T19" fmla="*/ 643 h 1030"/>
              <a:gd name="T20" fmla="*/ 1544 w 1619"/>
              <a:gd name="T21" fmla="*/ 456 h 1030"/>
              <a:gd name="T22" fmla="*/ 1421 w 1619"/>
              <a:gd name="T23" fmla="*/ 380 h 1030"/>
              <a:gd name="T24" fmla="*/ 1366 w 1619"/>
              <a:gd name="T25" fmla="*/ 364 h 1030"/>
              <a:gd name="T26" fmla="*/ 1355 w 1619"/>
              <a:gd name="T27" fmla="*/ 362 h 1030"/>
              <a:gd name="T28" fmla="*/ 1330 w 1619"/>
              <a:gd name="T29" fmla="*/ 357 h 1030"/>
              <a:gd name="T30" fmla="*/ 1326 w 1619"/>
              <a:gd name="T31" fmla="*/ 357 h 1030"/>
              <a:gd name="T32" fmla="*/ 1325 w 1619"/>
              <a:gd name="T33" fmla="*/ 357 h 1030"/>
              <a:gd name="T34" fmla="*/ 1273 w 1619"/>
              <a:gd name="T35" fmla="*/ 238 h 1030"/>
              <a:gd name="T36" fmla="*/ 1089 w 1619"/>
              <a:gd name="T37" fmla="*/ 126 h 1030"/>
              <a:gd name="T38" fmla="*/ 1006 w 1619"/>
              <a:gd name="T39" fmla="*/ 127 h 1030"/>
              <a:gd name="T40" fmla="*/ 934 w 1619"/>
              <a:gd name="T41" fmla="*/ 154 h 1030"/>
              <a:gd name="T42" fmla="*/ 903 w 1619"/>
              <a:gd name="T43" fmla="*/ 124 h 1030"/>
              <a:gd name="T44" fmla="*/ 752 w 1619"/>
              <a:gd name="T45" fmla="*/ 24 h 1030"/>
              <a:gd name="T46" fmla="*/ 724 w 1619"/>
              <a:gd name="T47" fmla="*/ 16 h 1030"/>
              <a:gd name="T48" fmla="*/ 700 w 1619"/>
              <a:gd name="T49" fmla="*/ 11 h 1030"/>
              <a:gd name="T50" fmla="*/ 551 w 1619"/>
              <a:gd name="T51" fmla="*/ 16 h 1030"/>
              <a:gd name="T52" fmla="*/ 527 w 1619"/>
              <a:gd name="T53" fmla="*/ 22 h 1030"/>
              <a:gd name="T54" fmla="*/ 289 w 1619"/>
              <a:gd name="T55" fmla="*/ 274 h 1030"/>
              <a:gd name="T56" fmla="*/ 231 w 1619"/>
              <a:gd name="T57" fmla="*/ 308 h 1030"/>
              <a:gd name="T58" fmla="*/ 4 w 1619"/>
              <a:gd name="T59" fmla="*/ 600 h 1030"/>
              <a:gd name="T60" fmla="*/ 0 w 1619"/>
              <a:gd name="T61" fmla="*/ 643 h 1030"/>
              <a:gd name="T62" fmla="*/ 0 w 1619"/>
              <a:gd name="T63" fmla="*/ 643 h 1030"/>
              <a:gd name="T64" fmla="*/ 0 w 1619"/>
              <a:gd name="T65" fmla="*/ 644 h 1030"/>
              <a:gd name="T66" fmla="*/ 4 w 1619"/>
              <a:gd name="T67" fmla="*/ 706 h 1030"/>
              <a:gd name="T68" fmla="*/ 123 w 1619"/>
              <a:gd name="T69" fmla="*/ 935 h 1030"/>
              <a:gd name="T70" fmla="*/ 268 w 1619"/>
              <a:gd name="T71" fmla="*/ 1017 h 1030"/>
              <a:gd name="T72" fmla="*/ 366 w 1619"/>
              <a:gd name="T73" fmla="*/ 1029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19" h="1030">
                <a:moveTo>
                  <a:pt x="366" y="1029"/>
                </a:moveTo>
                <a:cubicBezTo>
                  <a:pt x="366" y="1029"/>
                  <a:pt x="366" y="1029"/>
                  <a:pt x="366" y="1029"/>
                </a:cubicBezTo>
                <a:cubicBezTo>
                  <a:pt x="380" y="1029"/>
                  <a:pt x="394" y="1028"/>
                  <a:pt x="408" y="1028"/>
                </a:cubicBezTo>
                <a:cubicBezTo>
                  <a:pt x="409" y="1028"/>
                  <a:pt x="409" y="1028"/>
                  <a:pt x="410" y="1028"/>
                </a:cubicBezTo>
                <a:cubicBezTo>
                  <a:pt x="760" y="1021"/>
                  <a:pt x="760" y="1021"/>
                  <a:pt x="760" y="1021"/>
                </a:cubicBezTo>
                <a:cubicBezTo>
                  <a:pt x="805" y="1020"/>
                  <a:pt x="805" y="1020"/>
                  <a:pt x="805" y="1020"/>
                </a:cubicBezTo>
                <a:cubicBezTo>
                  <a:pt x="811" y="1019"/>
                  <a:pt x="811" y="1019"/>
                  <a:pt x="811" y="1019"/>
                </a:cubicBezTo>
                <a:cubicBezTo>
                  <a:pt x="1034" y="1015"/>
                  <a:pt x="1034" y="1015"/>
                  <a:pt x="1034" y="1015"/>
                </a:cubicBezTo>
                <a:cubicBezTo>
                  <a:pt x="1466" y="1005"/>
                  <a:pt x="1466" y="1005"/>
                  <a:pt x="1466" y="1005"/>
                </a:cubicBezTo>
                <a:cubicBezTo>
                  <a:pt x="1466" y="1005"/>
                  <a:pt x="1619" y="902"/>
                  <a:pt x="1619" y="643"/>
                </a:cubicBezTo>
                <a:cubicBezTo>
                  <a:pt x="1619" y="558"/>
                  <a:pt x="1587" y="498"/>
                  <a:pt x="1544" y="456"/>
                </a:cubicBezTo>
                <a:cubicBezTo>
                  <a:pt x="1507" y="419"/>
                  <a:pt x="1461" y="395"/>
                  <a:pt x="1421" y="380"/>
                </a:cubicBezTo>
                <a:cubicBezTo>
                  <a:pt x="1401" y="373"/>
                  <a:pt x="1382" y="368"/>
                  <a:pt x="1366" y="364"/>
                </a:cubicBezTo>
                <a:cubicBezTo>
                  <a:pt x="1362" y="363"/>
                  <a:pt x="1358" y="362"/>
                  <a:pt x="1355" y="362"/>
                </a:cubicBezTo>
                <a:cubicBezTo>
                  <a:pt x="1347" y="360"/>
                  <a:pt x="1339" y="358"/>
                  <a:pt x="1330" y="357"/>
                </a:cubicBezTo>
                <a:cubicBezTo>
                  <a:pt x="1328" y="357"/>
                  <a:pt x="1327" y="357"/>
                  <a:pt x="1326" y="357"/>
                </a:cubicBezTo>
                <a:cubicBezTo>
                  <a:pt x="1325" y="357"/>
                  <a:pt x="1325" y="357"/>
                  <a:pt x="1325" y="357"/>
                </a:cubicBezTo>
                <a:cubicBezTo>
                  <a:pt x="1311" y="315"/>
                  <a:pt x="1299" y="271"/>
                  <a:pt x="1273" y="238"/>
                </a:cubicBezTo>
                <a:cubicBezTo>
                  <a:pt x="1227" y="173"/>
                  <a:pt x="1158" y="137"/>
                  <a:pt x="1089" y="126"/>
                </a:cubicBezTo>
                <a:cubicBezTo>
                  <a:pt x="1055" y="121"/>
                  <a:pt x="1037" y="121"/>
                  <a:pt x="1006" y="127"/>
                </a:cubicBezTo>
                <a:cubicBezTo>
                  <a:pt x="981" y="132"/>
                  <a:pt x="958" y="146"/>
                  <a:pt x="934" y="154"/>
                </a:cubicBezTo>
                <a:cubicBezTo>
                  <a:pt x="922" y="147"/>
                  <a:pt x="914" y="135"/>
                  <a:pt x="903" y="124"/>
                </a:cubicBezTo>
                <a:cubicBezTo>
                  <a:pt x="860" y="78"/>
                  <a:pt x="809" y="42"/>
                  <a:pt x="752" y="24"/>
                </a:cubicBezTo>
                <a:cubicBezTo>
                  <a:pt x="743" y="21"/>
                  <a:pt x="734" y="18"/>
                  <a:pt x="724" y="16"/>
                </a:cubicBezTo>
                <a:cubicBezTo>
                  <a:pt x="715" y="14"/>
                  <a:pt x="707" y="13"/>
                  <a:pt x="700" y="11"/>
                </a:cubicBezTo>
                <a:cubicBezTo>
                  <a:pt x="657" y="2"/>
                  <a:pt x="635" y="0"/>
                  <a:pt x="551" y="16"/>
                </a:cubicBezTo>
                <a:cubicBezTo>
                  <a:pt x="543" y="18"/>
                  <a:pt x="535" y="20"/>
                  <a:pt x="527" y="22"/>
                </a:cubicBezTo>
                <a:cubicBezTo>
                  <a:pt x="420" y="53"/>
                  <a:pt x="324" y="148"/>
                  <a:pt x="289" y="274"/>
                </a:cubicBezTo>
                <a:cubicBezTo>
                  <a:pt x="280" y="301"/>
                  <a:pt x="251" y="300"/>
                  <a:pt x="231" y="308"/>
                </a:cubicBezTo>
                <a:cubicBezTo>
                  <a:pt x="120" y="351"/>
                  <a:pt x="28" y="463"/>
                  <a:pt x="4" y="600"/>
                </a:cubicBezTo>
                <a:cubicBezTo>
                  <a:pt x="2" y="617"/>
                  <a:pt x="0" y="630"/>
                  <a:pt x="0" y="643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43"/>
                  <a:pt x="0" y="644"/>
                  <a:pt x="0" y="644"/>
                </a:cubicBezTo>
                <a:cubicBezTo>
                  <a:pt x="0" y="660"/>
                  <a:pt x="1" y="678"/>
                  <a:pt x="4" y="706"/>
                </a:cubicBezTo>
                <a:cubicBezTo>
                  <a:pt x="14" y="797"/>
                  <a:pt x="60" y="881"/>
                  <a:pt x="123" y="935"/>
                </a:cubicBezTo>
                <a:cubicBezTo>
                  <a:pt x="166" y="974"/>
                  <a:pt x="216" y="1002"/>
                  <a:pt x="268" y="1017"/>
                </a:cubicBezTo>
                <a:cubicBezTo>
                  <a:pt x="300" y="1029"/>
                  <a:pt x="333" y="1030"/>
                  <a:pt x="366" y="102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" name="Freeform 35">
            <a:extLst>
              <a:ext uri="{FF2B5EF4-FFF2-40B4-BE49-F238E27FC236}">
                <a16:creationId xmlns:a16="http://schemas.microsoft.com/office/drawing/2014/main" id="{50074950-CAA1-4EF9-8DF3-F3C71E25B67F}"/>
              </a:ext>
            </a:extLst>
          </p:cNvPr>
          <p:cNvSpPr>
            <a:spLocks/>
          </p:cNvSpPr>
          <p:nvPr/>
        </p:nvSpPr>
        <p:spPr bwMode="auto">
          <a:xfrm>
            <a:off x="7404042" y="5401254"/>
            <a:ext cx="467197" cy="125626"/>
          </a:xfrm>
          <a:custGeom>
            <a:avLst/>
            <a:gdLst>
              <a:gd name="T0" fmla="*/ 0 w 2157"/>
              <a:gd name="T1" fmla="*/ 328 h 580"/>
              <a:gd name="T2" fmla="*/ 2157 w 2157"/>
              <a:gd name="T3" fmla="*/ 0 h 580"/>
              <a:gd name="T4" fmla="*/ 409 w 2157"/>
              <a:gd name="T5" fmla="*/ 580 h 580"/>
              <a:gd name="T6" fmla="*/ 0 w 2157"/>
              <a:gd name="T7" fmla="*/ 328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7" h="580">
                <a:moveTo>
                  <a:pt x="0" y="328"/>
                </a:moveTo>
                <a:lnTo>
                  <a:pt x="2157" y="0"/>
                </a:lnTo>
                <a:lnTo>
                  <a:pt x="409" y="580"/>
                </a:lnTo>
                <a:lnTo>
                  <a:pt x="0" y="3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" name="Freeform 36">
            <a:extLst>
              <a:ext uri="{FF2B5EF4-FFF2-40B4-BE49-F238E27FC236}">
                <a16:creationId xmlns:a16="http://schemas.microsoft.com/office/drawing/2014/main" id="{43A8FBB3-8140-4EC3-9678-6E4DD5A625B8}"/>
              </a:ext>
            </a:extLst>
          </p:cNvPr>
          <p:cNvSpPr>
            <a:spLocks/>
          </p:cNvSpPr>
          <p:nvPr/>
        </p:nvSpPr>
        <p:spPr bwMode="auto">
          <a:xfrm>
            <a:off x="7492630" y="5401254"/>
            <a:ext cx="378610" cy="266630"/>
          </a:xfrm>
          <a:custGeom>
            <a:avLst/>
            <a:gdLst>
              <a:gd name="T0" fmla="*/ 0 w 1748"/>
              <a:gd name="T1" fmla="*/ 580 h 1231"/>
              <a:gd name="T2" fmla="*/ 249 w 1748"/>
              <a:gd name="T3" fmla="*/ 1231 h 1231"/>
              <a:gd name="T4" fmla="*/ 1748 w 1748"/>
              <a:gd name="T5" fmla="*/ 0 h 1231"/>
              <a:gd name="T6" fmla="*/ 0 w 1748"/>
              <a:gd name="T7" fmla="*/ 580 h 1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48" h="1231">
                <a:moveTo>
                  <a:pt x="0" y="580"/>
                </a:moveTo>
                <a:lnTo>
                  <a:pt x="249" y="1231"/>
                </a:lnTo>
                <a:lnTo>
                  <a:pt x="1748" y="0"/>
                </a:lnTo>
                <a:lnTo>
                  <a:pt x="0" y="58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" name="Freeform 37">
            <a:extLst>
              <a:ext uri="{FF2B5EF4-FFF2-40B4-BE49-F238E27FC236}">
                <a16:creationId xmlns:a16="http://schemas.microsoft.com/office/drawing/2014/main" id="{3CEB3B7A-C190-446A-A1F6-95DD745E7E79}"/>
              </a:ext>
            </a:extLst>
          </p:cNvPr>
          <p:cNvSpPr>
            <a:spLocks/>
          </p:cNvSpPr>
          <p:nvPr/>
        </p:nvSpPr>
        <p:spPr bwMode="auto">
          <a:xfrm>
            <a:off x="7492630" y="5401254"/>
            <a:ext cx="378610" cy="266630"/>
          </a:xfrm>
          <a:custGeom>
            <a:avLst/>
            <a:gdLst>
              <a:gd name="T0" fmla="*/ 0 w 1748"/>
              <a:gd name="T1" fmla="*/ 580 h 1231"/>
              <a:gd name="T2" fmla="*/ 249 w 1748"/>
              <a:gd name="T3" fmla="*/ 1231 h 1231"/>
              <a:gd name="T4" fmla="*/ 1748 w 1748"/>
              <a:gd name="T5" fmla="*/ 0 h 1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48" h="1231">
                <a:moveTo>
                  <a:pt x="0" y="580"/>
                </a:moveTo>
                <a:lnTo>
                  <a:pt x="249" y="1231"/>
                </a:lnTo>
                <a:lnTo>
                  <a:pt x="174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6" name="Freeform 38">
            <a:extLst>
              <a:ext uri="{FF2B5EF4-FFF2-40B4-BE49-F238E27FC236}">
                <a16:creationId xmlns:a16="http://schemas.microsoft.com/office/drawing/2014/main" id="{EBD71EFF-2ECC-4268-9BB1-B54813FCA155}"/>
              </a:ext>
            </a:extLst>
          </p:cNvPr>
          <p:cNvSpPr>
            <a:spLocks/>
          </p:cNvSpPr>
          <p:nvPr/>
        </p:nvSpPr>
        <p:spPr bwMode="auto">
          <a:xfrm>
            <a:off x="7540497" y="5401254"/>
            <a:ext cx="330742" cy="266630"/>
          </a:xfrm>
          <a:custGeom>
            <a:avLst/>
            <a:gdLst>
              <a:gd name="T0" fmla="*/ 28 w 1527"/>
              <a:gd name="T1" fmla="*/ 1231 h 1231"/>
              <a:gd name="T2" fmla="*/ 0 w 1527"/>
              <a:gd name="T3" fmla="*/ 699 h 1231"/>
              <a:gd name="T4" fmla="*/ 1527 w 1527"/>
              <a:gd name="T5" fmla="*/ 0 h 1231"/>
              <a:gd name="T6" fmla="*/ 28 w 1527"/>
              <a:gd name="T7" fmla="*/ 1231 h 1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27" h="1231">
                <a:moveTo>
                  <a:pt x="28" y="1231"/>
                </a:moveTo>
                <a:lnTo>
                  <a:pt x="0" y="699"/>
                </a:lnTo>
                <a:lnTo>
                  <a:pt x="1527" y="0"/>
                </a:lnTo>
                <a:lnTo>
                  <a:pt x="28" y="12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" name="Freeform 39">
            <a:extLst>
              <a:ext uri="{FF2B5EF4-FFF2-40B4-BE49-F238E27FC236}">
                <a16:creationId xmlns:a16="http://schemas.microsoft.com/office/drawing/2014/main" id="{F1373169-FDA4-4CD5-95DB-B526AE64B5CB}"/>
              </a:ext>
            </a:extLst>
          </p:cNvPr>
          <p:cNvSpPr>
            <a:spLocks/>
          </p:cNvSpPr>
          <p:nvPr/>
        </p:nvSpPr>
        <p:spPr bwMode="auto">
          <a:xfrm>
            <a:off x="7540497" y="5401254"/>
            <a:ext cx="330742" cy="244970"/>
          </a:xfrm>
          <a:custGeom>
            <a:avLst/>
            <a:gdLst>
              <a:gd name="T0" fmla="*/ 1527 w 1527"/>
              <a:gd name="T1" fmla="*/ 0 h 1131"/>
              <a:gd name="T2" fmla="*/ 667 w 1527"/>
              <a:gd name="T3" fmla="*/ 1131 h 1131"/>
              <a:gd name="T4" fmla="*/ 0 w 1527"/>
              <a:gd name="T5" fmla="*/ 699 h 1131"/>
              <a:gd name="T6" fmla="*/ 1527 w 1527"/>
              <a:gd name="T7" fmla="*/ 0 h 1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27" h="1131">
                <a:moveTo>
                  <a:pt x="1527" y="0"/>
                </a:moveTo>
                <a:lnTo>
                  <a:pt x="667" y="1131"/>
                </a:lnTo>
                <a:lnTo>
                  <a:pt x="0" y="699"/>
                </a:lnTo>
                <a:lnTo>
                  <a:pt x="152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056DBB-5B17-480C-95C8-82F13AC2FC8E}"/>
              </a:ext>
            </a:extLst>
          </p:cNvPr>
          <p:cNvGrpSpPr/>
          <p:nvPr/>
        </p:nvGrpSpPr>
        <p:grpSpPr>
          <a:xfrm>
            <a:off x="7853478" y="2247835"/>
            <a:ext cx="652820" cy="3752306"/>
            <a:chOff x="9564453" y="1854926"/>
            <a:chExt cx="870426" cy="5003074"/>
          </a:xfrm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633BAD83-D390-4056-906C-0E32C19E9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5497" y="3080570"/>
              <a:ext cx="383230" cy="709568"/>
            </a:xfrm>
            <a:custGeom>
              <a:avLst/>
              <a:gdLst>
                <a:gd name="T0" fmla="*/ 0 w 1114"/>
                <a:gd name="T1" fmla="*/ 1187 h 2064"/>
                <a:gd name="T2" fmla="*/ 8 w 1114"/>
                <a:gd name="T3" fmla="*/ 1387 h 2064"/>
                <a:gd name="T4" fmla="*/ 90 w 1114"/>
                <a:gd name="T5" fmla="*/ 1628 h 2064"/>
                <a:gd name="T6" fmla="*/ 372 w 1114"/>
                <a:gd name="T7" fmla="*/ 1772 h 2064"/>
                <a:gd name="T8" fmla="*/ 372 w 1114"/>
                <a:gd name="T9" fmla="*/ 2064 h 2064"/>
                <a:gd name="T10" fmla="*/ 1016 w 1114"/>
                <a:gd name="T11" fmla="*/ 2064 h 2064"/>
                <a:gd name="T12" fmla="*/ 1114 w 1114"/>
                <a:gd name="T13" fmla="*/ 1083 h 2064"/>
                <a:gd name="T14" fmla="*/ 1098 w 1114"/>
                <a:gd name="T15" fmla="*/ 1113 h 2064"/>
                <a:gd name="T16" fmla="*/ 709 w 1114"/>
                <a:gd name="T17" fmla="*/ 196 h 2064"/>
                <a:gd name="T18" fmla="*/ 0 w 1114"/>
                <a:gd name="T19" fmla="*/ 0 h 2064"/>
                <a:gd name="T20" fmla="*/ 0 w 1114"/>
                <a:gd name="T21" fmla="*/ 1187 h 2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14" h="2064">
                  <a:moveTo>
                    <a:pt x="0" y="1187"/>
                  </a:moveTo>
                  <a:cubicBezTo>
                    <a:pt x="8" y="1387"/>
                    <a:pt x="8" y="1387"/>
                    <a:pt x="8" y="1387"/>
                  </a:cubicBezTo>
                  <a:cubicBezTo>
                    <a:pt x="8" y="1387"/>
                    <a:pt x="42" y="1524"/>
                    <a:pt x="90" y="1628"/>
                  </a:cubicBezTo>
                  <a:cubicBezTo>
                    <a:pt x="139" y="1731"/>
                    <a:pt x="372" y="1772"/>
                    <a:pt x="372" y="1772"/>
                  </a:cubicBezTo>
                  <a:cubicBezTo>
                    <a:pt x="372" y="2064"/>
                    <a:pt x="372" y="2064"/>
                    <a:pt x="372" y="2064"/>
                  </a:cubicBezTo>
                  <a:cubicBezTo>
                    <a:pt x="1016" y="2064"/>
                    <a:pt x="1016" y="2064"/>
                    <a:pt x="1016" y="2064"/>
                  </a:cubicBezTo>
                  <a:cubicBezTo>
                    <a:pt x="1038" y="1738"/>
                    <a:pt x="1075" y="1281"/>
                    <a:pt x="1114" y="1083"/>
                  </a:cubicBezTo>
                  <a:cubicBezTo>
                    <a:pt x="1103" y="1101"/>
                    <a:pt x="1098" y="1113"/>
                    <a:pt x="1098" y="1113"/>
                  </a:cubicBezTo>
                  <a:cubicBezTo>
                    <a:pt x="1055" y="733"/>
                    <a:pt x="791" y="317"/>
                    <a:pt x="709" y="196"/>
                  </a:cubicBezTo>
                  <a:cubicBezTo>
                    <a:pt x="519" y="151"/>
                    <a:pt x="219" y="64"/>
                    <a:pt x="0" y="0"/>
                  </a:cubicBezTo>
                  <a:lnTo>
                    <a:pt x="0" y="1187"/>
                  </a:lnTo>
                  <a:close/>
                </a:path>
              </a:pathLst>
            </a:custGeom>
            <a:solidFill>
              <a:srgbClr val="EDBC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05811AED-C294-4CC4-9DA0-1827F6959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4938" y="3380916"/>
              <a:ext cx="430592" cy="409222"/>
            </a:xfrm>
            <a:custGeom>
              <a:avLst/>
              <a:gdLst>
                <a:gd name="T0" fmla="*/ 1033 w 1251"/>
                <a:gd name="T1" fmla="*/ 214 h 1190"/>
                <a:gd name="T2" fmla="*/ 124 w 1251"/>
                <a:gd name="T3" fmla="*/ 467 h 1190"/>
                <a:gd name="T4" fmla="*/ 70 w 1251"/>
                <a:gd name="T5" fmla="*/ 389 h 1190"/>
                <a:gd name="T6" fmla="*/ 0 w 1251"/>
                <a:gd name="T7" fmla="*/ 1190 h 1190"/>
                <a:gd name="T8" fmla="*/ 663 w 1251"/>
                <a:gd name="T9" fmla="*/ 1190 h 1190"/>
                <a:gd name="T10" fmla="*/ 663 w 1251"/>
                <a:gd name="T11" fmla="*/ 738 h 1190"/>
                <a:gd name="T12" fmla="*/ 1178 w 1251"/>
                <a:gd name="T13" fmla="*/ 204 h 1190"/>
                <a:gd name="T14" fmla="*/ 1247 w 1251"/>
                <a:gd name="T15" fmla="*/ 0 h 1190"/>
                <a:gd name="T16" fmla="*/ 1033 w 1251"/>
                <a:gd name="T17" fmla="*/ 214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1" h="1190">
                  <a:moveTo>
                    <a:pt x="1033" y="214"/>
                  </a:moveTo>
                  <a:cubicBezTo>
                    <a:pt x="661" y="396"/>
                    <a:pt x="306" y="690"/>
                    <a:pt x="124" y="467"/>
                  </a:cubicBezTo>
                  <a:cubicBezTo>
                    <a:pt x="102" y="440"/>
                    <a:pt x="84" y="414"/>
                    <a:pt x="70" y="389"/>
                  </a:cubicBezTo>
                  <a:cubicBezTo>
                    <a:pt x="42" y="617"/>
                    <a:pt x="17" y="942"/>
                    <a:pt x="0" y="1190"/>
                  </a:cubicBezTo>
                  <a:cubicBezTo>
                    <a:pt x="663" y="1190"/>
                    <a:pt x="663" y="1190"/>
                    <a:pt x="663" y="1190"/>
                  </a:cubicBezTo>
                  <a:cubicBezTo>
                    <a:pt x="663" y="738"/>
                    <a:pt x="663" y="738"/>
                    <a:pt x="663" y="738"/>
                  </a:cubicBezTo>
                  <a:cubicBezTo>
                    <a:pt x="739" y="692"/>
                    <a:pt x="1157" y="248"/>
                    <a:pt x="1178" y="204"/>
                  </a:cubicBezTo>
                  <a:cubicBezTo>
                    <a:pt x="1195" y="170"/>
                    <a:pt x="1251" y="100"/>
                    <a:pt x="1247" y="0"/>
                  </a:cubicBezTo>
                  <a:cubicBezTo>
                    <a:pt x="1231" y="68"/>
                    <a:pt x="1175" y="144"/>
                    <a:pt x="1033" y="214"/>
                  </a:cubicBezTo>
                  <a:close/>
                </a:path>
              </a:pathLst>
            </a:custGeom>
            <a:solidFill>
              <a:srgbClr val="DCAA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57B6C128-661B-41CE-9D44-374B43E9B1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4453" y="1854926"/>
              <a:ext cx="829129" cy="828840"/>
            </a:xfrm>
            <a:custGeom>
              <a:avLst/>
              <a:gdLst>
                <a:gd name="T0" fmla="*/ 1196 w 2411"/>
                <a:gd name="T1" fmla="*/ 5 h 2411"/>
                <a:gd name="T2" fmla="*/ 5 w 2411"/>
                <a:gd name="T3" fmla="*/ 1215 h 2411"/>
                <a:gd name="T4" fmla="*/ 1215 w 2411"/>
                <a:gd name="T5" fmla="*/ 2405 h 2411"/>
                <a:gd name="T6" fmla="*/ 2406 w 2411"/>
                <a:gd name="T7" fmla="*/ 1196 h 2411"/>
                <a:gd name="T8" fmla="*/ 1196 w 2411"/>
                <a:gd name="T9" fmla="*/ 5 h 2411"/>
                <a:gd name="T10" fmla="*/ 2200 w 2411"/>
                <a:gd name="T11" fmla="*/ 1197 h 2411"/>
                <a:gd name="T12" fmla="*/ 1213 w 2411"/>
                <a:gd name="T13" fmla="*/ 2199 h 2411"/>
                <a:gd name="T14" fmla="*/ 211 w 2411"/>
                <a:gd name="T15" fmla="*/ 1213 h 2411"/>
                <a:gd name="T16" fmla="*/ 1197 w 2411"/>
                <a:gd name="T17" fmla="*/ 211 h 2411"/>
                <a:gd name="T18" fmla="*/ 2200 w 2411"/>
                <a:gd name="T19" fmla="*/ 1197 h 2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11" h="2411">
                  <a:moveTo>
                    <a:pt x="1196" y="5"/>
                  </a:moveTo>
                  <a:cubicBezTo>
                    <a:pt x="533" y="10"/>
                    <a:pt x="0" y="552"/>
                    <a:pt x="5" y="1215"/>
                  </a:cubicBezTo>
                  <a:cubicBezTo>
                    <a:pt x="11" y="1878"/>
                    <a:pt x="552" y="2411"/>
                    <a:pt x="1215" y="2405"/>
                  </a:cubicBezTo>
                  <a:cubicBezTo>
                    <a:pt x="1878" y="2400"/>
                    <a:pt x="2411" y="1858"/>
                    <a:pt x="2406" y="1196"/>
                  </a:cubicBezTo>
                  <a:cubicBezTo>
                    <a:pt x="2400" y="533"/>
                    <a:pt x="1859" y="0"/>
                    <a:pt x="1196" y="5"/>
                  </a:cubicBezTo>
                  <a:close/>
                  <a:moveTo>
                    <a:pt x="2200" y="1197"/>
                  </a:moveTo>
                  <a:cubicBezTo>
                    <a:pt x="2204" y="1746"/>
                    <a:pt x="1763" y="2195"/>
                    <a:pt x="1213" y="2199"/>
                  </a:cubicBezTo>
                  <a:cubicBezTo>
                    <a:pt x="664" y="2204"/>
                    <a:pt x="216" y="1762"/>
                    <a:pt x="211" y="1213"/>
                  </a:cubicBezTo>
                  <a:cubicBezTo>
                    <a:pt x="207" y="664"/>
                    <a:pt x="648" y="215"/>
                    <a:pt x="1197" y="211"/>
                  </a:cubicBezTo>
                  <a:cubicBezTo>
                    <a:pt x="1747" y="207"/>
                    <a:pt x="2195" y="648"/>
                    <a:pt x="2200" y="11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52967C68-2DD5-4C34-BFEE-C1FCE01D4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5497" y="1927414"/>
              <a:ext cx="346264" cy="685020"/>
            </a:xfrm>
            <a:custGeom>
              <a:avLst/>
              <a:gdLst>
                <a:gd name="T0" fmla="*/ 4 w 1006"/>
                <a:gd name="T1" fmla="*/ 1002 h 1993"/>
                <a:gd name="T2" fmla="*/ 1006 w 1006"/>
                <a:gd name="T3" fmla="*/ 1988 h 1993"/>
                <a:gd name="T4" fmla="*/ 990 w 1006"/>
                <a:gd name="T5" fmla="*/ 0 h 1993"/>
                <a:gd name="T6" fmla="*/ 4 w 1006"/>
                <a:gd name="T7" fmla="*/ 1002 h 1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6" h="1993">
                  <a:moveTo>
                    <a:pt x="4" y="1002"/>
                  </a:moveTo>
                  <a:cubicBezTo>
                    <a:pt x="9" y="1551"/>
                    <a:pt x="457" y="1993"/>
                    <a:pt x="1006" y="1988"/>
                  </a:cubicBezTo>
                  <a:cubicBezTo>
                    <a:pt x="990" y="0"/>
                    <a:pt x="990" y="0"/>
                    <a:pt x="990" y="0"/>
                  </a:cubicBezTo>
                  <a:cubicBezTo>
                    <a:pt x="441" y="4"/>
                    <a:pt x="0" y="453"/>
                    <a:pt x="4" y="100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9C56BBEA-7751-4DB9-A70A-9E3E5E59B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5985" y="1925970"/>
              <a:ext cx="346553" cy="684731"/>
            </a:xfrm>
            <a:custGeom>
              <a:avLst/>
              <a:gdLst>
                <a:gd name="T0" fmla="*/ 0 w 1007"/>
                <a:gd name="T1" fmla="*/ 4 h 1992"/>
                <a:gd name="T2" fmla="*/ 16 w 1007"/>
                <a:gd name="T3" fmla="*/ 1992 h 1992"/>
                <a:gd name="T4" fmla="*/ 1003 w 1007"/>
                <a:gd name="T5" fmla="*/ 990 h 1992"/>
                <a:gd name="T6" fmla="*/ 0 w 1007"/>
                <a:gd name="T7" fmla="*/ 4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7" h="1992">
                  <a:moveTo>
                    <a:pt x="0" y="4"/>
                  </a:moveTo>
                  <a:cubicBezTo>
                    <a:pt x="16" y="1992"/>
                    <a:pt x="16" y="1992"/>
                    <a:pt x="16" y="1992"/>
                  </a:cubicBezTo>
                  <a:cubicBezTo>
                    <a:pt x="566" y="1988"/>
                    <a:pt x="1007" y="1539"/>
                    <a:pt x="1003" y="990"/>
                  </a:cubicBezTo>
                  <a:cubicBezTo>
                    <a:pt x="998" y="441"/>
                    <a:pt x="550" y="0"/>
                    <a:pt x="0" y="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EB83C584-8CE2-4234-B7E5-08827AD06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661" y="2052750"/>
              <a:ext cx="148440" cy="409799"/>
            </a:xfrm>
            <a:custGeom>
              <a:avLst/>
              <a:gdLst>
                <a:gd name="T0" fmla="*/ 339 w 432"/>
                <a:gd name="T1" fmla="*/ 1162 h 1192"/>
                <a:gd name="T2" fmla="*/ 249 w 432"/>
                <a:gd name="T3" fmla="*/ 1171 h 1192"/>
                <a:gd name="T4" fmla="*/ 4 w 432"/>
                <a:gd name="T5" fmla="*/ 675 h 1192"/>
                <a:gd name="T6" fmla="*/ 319 w 432"/>
                <a:gd name="T7" fmla="*/ 21 h 1192"/>
                <a:gd name="T8" fmla="*/ 411 w 432"/>
                <a:gd name="T9" fmla="*/ 37 h 1192"/>
                <a:gd name="T10" fmla="*/ 394 w 432"/>
                <a:gd name="T11" fmla="*/ 129 h 1192"/>
                <a:gd name="T12" fmla="*/ 136 w 432"/>
                <a:gd name="T13" fmla="*/ 673 h 1192"/>
                <a:gd name="T14" fmla="*/ 329 w 432"/>
                <a:gd name="T15" fmla="*/ 1066 h 1192"/>
                <a:gd name="T16" fmla="*/ 342 w 432"/>
                <a:gd name="T17" fmla="*/ 1159 h 1192"/>
                <a:gd name="T18" fmla="*/ 339 w 432"/>
                <a:gd name="T19" fmla="*/ 1162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2" h="1192">
                  <a:moveTo>
                    <a:pt x="339" y="1162"/>
                  </a:moveTo>
                  <a:cubicBezTo>
                    <a:pt x="316" y="1188"/>
                    <a:pt x="277" y="1192"/>
                    <a:pt x="249" y="1171"/>
                  </a:cubicBezTo>
                  <a:cubicBezTo>
                    <a:pt x="239" y="1163"/>
                    <a:pt x="7" y="983"/>
                    <a:pt x="4" y="675"/>
                  </a:cubicBezTo>
                  <a:cubicBezTo>
                    <a:pt x="0" y="247"/>
                    <a:pt x="306" y="30"/>
                    <a:pt x="319" y="21"/>
                  </a:cubicBezTo>
                  <a:cubicBezTo>
                    <a:pt x="349" y="0"/>
                    <a:pt x="390" y="7"/>
                    <a:pt x="411" y="37"/>
                  </a:cubicBezTo>
                  <a:cubicBezTo>
                    <a:pt x="432" y="67"/>
                    <a:pt x="424" y="108"/>
                    <a:pt x="394" y="129"/>
                  </a:cubicBezTo>
                  <a:cubicBezTo>
                    <a:pt x="384" y="137"/>
                    <a:pt x="133" y="318"/>
                    <a:pt x="136" y="673"/>
                  </a:cubicBezTo>
                  <a:cubicBezTo>
                    <a:pt x="139" y="917"/>
                    <a:pt x="327" y="1064"/>
                    <a:pt x="329" y="1066"/>
                  </a:cubicBezTo>
                  <a:cubicBezTo>
                    <a:pt x="358" y="1088"/>
                    <a:pt x="364" y="1130"/>
                    <a:pt x="342" y="1159"/>
                  </a:cubicBezTo>
                  <a:cubicBezTo>
                    <a:pt x="341" y="1160"/>
                    <a:pt x="340" y="1161"/>
                    <a:pt x="339" y="11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CD9E0478-8CA7-4A59-A409-27E5C6572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81492" y="1875142"/>
              <a:ext cx="789853" cy="789275"/>
            </a:xfrm>
            <a:custGeom>
              <a:avLst/>
              <a:gdLst>
                <a:gd name="T0" fmla="*/ 1925 w 2296"/>
                <a:gd name="T1" fmla="*/ 1821 h 2296"/>
                <a:gd name="T2" fmla="*/ 475 w 2296"/>
                <a:gd name="T3" fmla="*/ 1926 h 2296"/>
                <a:gd name="T4" fmla="*/ 370 w 2296"/>
                <a:gd name="T5" fmla="*/ 476 h 2296"/>
                <a:gd name="T6" fmla="*/ 1820 w 2296"/>
                <a:gd name="T7" fmla="*/ 371 h 2296"/>
                <a:gd name="T8" fmla="*/ 1925 w 2296"/>
                <a:gd name="T9" fmla="*/ 1821 h 2296"/>
                <a:gd name="T10" fmla="*/ 407 w 2296"/>
                <a:gd name="T11" fmla="*/ 507 h 2296"/>
                <a:gd name="T12" fmla="*/ 507 w 2296"/>
                <a:gd name="T13" fmla="*/ 1889 h 2296"/>
                <a:gd name="T14" fmla="*/ 1889 w 2296"/>
                <a:gd name="T15" fmla="*/ 1789 h 2296"/>
                <a:gd name="T16" fmla="*/ 1789 w 2296"/>
                <a:gd name="T17" fmla="*/ 408 h 2296"/>
                <a:gd name="T18" fmla="*/ 407 w 2296"/>
                <a:gd name="T19" fmla="*/ 507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6" h="2296">
                  <a:moveTo>
                    <a:pt x="1925" y="1821"/>
                  </a:moveTo>
                  <a:cubicBezTo>
                    <a:pt x="1554" y="2249"/>
                    <a:pt x="904" y="2296"/>
                    <a:pt x="475" y="1926"/>
                  </a:cubicBezTo>
                  <a:cubicBezTo>
                    <a:pt x="47" y="1555"/>
                    <a:pt x="0" y="905"/>
                    <a:pt x="370" y="476"/>
                  </a:cubicBezTo>
                  <a:cubicBezTo>
                    <a:pt x="741" y="47"/>
                    <a:pt x="1392" y="0"/>
                    <a:pt x="1820" y="371"/>
                  </a:cubicBezTo>
                  <a:cubicBezTo>
                    <a:pt x="2249" y="742"/>
                    <a:pt x="2296" y="1392"/>
                    <a:pt x="1925" y="1821"/>
                  </a:cubicBezTo>
                  <a:close/>
                  <a:moveTo>
                    <a:pt x="407" y="507"/>
                  </a:moveTo>
                  <a:cubicBezTo>
                    <a:pt x="53" y="916"/>
                    <a:pt x="98" y="1536"/>
                    <a:pt x="507" y="1889"/>
                  </a:cubicBezTo>
                  <a:cubicBezTo>
                    <a:pt x="915" y="2243"/>
                    <a:pt x="1535" y="2198"/>
                    <a:pt x="1889" y="1789"/>
                  </a:cubicBezTo>
                  <a:cubicBezTo>
                    <a:pt x="2242" y="1381"/>
                    <a:pt x="2197" y="761"/>
                    <a:pt x="1789" y="408"/>
                  </a:cubicBezTo>
                  <a:cubicBezTo>
                    <a:pt x="1380" y="54"/>
                    <a:pt x="760" y="99"/>
                    <a:pt x="407" y="50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3EC7563B-F4D5-4C09-9009-4EAB75D30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38" y="2649111"/>
              <a:ext cx="89815" cy="273777"/>
            </a:xfrm>
            <a:custGeom>
              <a:avLst/>
              <a:gdLst>
                <a:gd name="T0" fmla="*/ 311 w 311"/>
                <a:gd name="T1" fmla="*/ 947 h 948"/>
                <a:gd name="T2" fmla="*/ 3 w 311"/>
                <a:gd name="T3" fmla="*/ 948 h 948"/>
                <a:gd name="T4" fmla="*/ 0 w 311"/>
                <a:gd name="T5" fmla="*/ 1 h 948"/>
                <a:gd name="T6" fmla="*/ 309 w 311"/>
                <a:gd name="T7" fmla="*/ 0 h 948"/>
                <a:gd name="T8" fmla="*/ 311 w 311"/>
                <a:gd name="T9" fmla="*/ 947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948">
                  <a:moveTo>
                    <a:pt x="311" y="947"/>
                  </a:moveTo>
                  <a:lnTo>
                    <a:pt x="3" y="948"/>
                  </a:lnTo>
                  <a:lnTo>
                    <a:pt x="0" y="1"/>
                  </a:lnTo>
                  <a:lnTo>
                    <a:pt x="309" y="0"/>
                  </a:lnTo>
                  <a:lnTo>
                    <a:pt x="311" y="94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6C34EA31-DAD9-4C3D-8582-05679C2EF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881" y="2846646"/>
              <a:ext cx="217751" cy="699749"/>
            </a:xfrm>
            <a:custGeom>
              <a:avLst/>
              <a:gdLst>
                <a:gd name="T0" fmla="*/ 319 w 633"/>
                <a:gd name="T1" fmla="*/ 2034 h 2035"/>
                <a:gd name="T2" fmla="*/ 4 w 633"/>
                <a:gd name="T3" fmla="*/ 1745 h 2035"/>
                <a:gd name="T4" fmla="*/ 0 w 633"/>
                <a:gd name="T5" fmla="*/ 292 h 2035"/>
                <a:gd name="T6" fmla="*/ 314 w 633"/>
                <a:gd name="T7" fmla="*/ 0 h 2035"/>
                <a:gd name="T8" fmla="*/ 314 w 633"/>
                <a:gd name="T9" fmla="*/ 0 h 2035"/>
                <a:gd name="T10" fmla="*/ 629 w 633"/>
                <a:gd name="T11" fmla="*/ 290 h 2035"/>
                <a:gd name="T12" fmla="*/ 633 w 633"/>
                <a:gd name="T13" fmla="*/ 1743 h 2035"/>
                <a:gd name="T14" fmla="*/ 319 w 633"/>
                <a:gd name="T15" fmla="*/ 2034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3" h="2035">
                  <a:moveTo>
                    <a:pt x="319" y="2034"/>
                  </a:moveTo>
                  <a:cubicBezTo>
                    <a:pt x="146" y="2035"/>
                    <a:pt x="5" y="1905"/>
                    <a:pt x="4" y="174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0" y="131"/>
                    <a:pt x="140" y="1"/>
                    <a:pt x="314" y="0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487" y="0"/>
                    <a:pt x="628" y="129"/>
                    <a:pt x="629" y="290"/>
                  </a:cubicBezTo>
                  <a:cubicBezTo>
                    <a:pt x="633" y="1743"/>
                    <a:pt x="633" y="1743"/>
                    <a:pt x="633" y="1743"/>
                  </a:cubicBezTo>
                  <a:cubicBezTo>
                    <a:pt x="633" y="1904"/>
                    <a:pt x="493" y="2034"/>
                    <a:pt x="319" y="203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B8CA1271-25E4-41C5-8306-11EFE7623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0640" y="3078548"/>
              <a:ext cx="213708" cy="187716"/>
            </a:xfrm>
            <a:custGeom>
              <a:avLst/>
              <a:gdLst>
                <a:gd name="T0" fmla="*/ 554 w 622"/>
                <a:gd name="T1" fmla="*/ 241 h 546"/>
                <a:gd name="T2" fmla="*/ 178 w 622"/>
                <a:gd name="T3" fmla="*/ 293 h 546"/>
                <a:gd name="T4" fmla="*/ 6 w 622"/>
                <a:gd name="T5" fmla="*/ 195 h 546"/>
                <a:gd name="T6" fmla="*/ 1 w 622"/>
                <a:gd name="T7" fmla="*/ 251 h 546"/>
                <a:gd name="T8" fmla="*/ 572 w 622"/>
                <a:gd name="T9" fmla="*/ 241 h 546"/>
                <a:gd name="T10" fmla="*/ 578 w 622"/>
                <a:gd name="T11" fmla="*/ 0 h 546"/>
                <a:gd name="T12" fmla="*/ 554 w 622"/>
                <a:gd name="T13" fmla="*/ 24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2" h="546">
                  <a:moveTo>
                    <a:pt x="554" y="241"/>
                  </a:moveTo>
                  <a:cubicBezTo>
                    <a:pt x="407" y="499"/>
                    <a:pt x="178" y="293"/>
                    <a:pt x="178" y="29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" y="215"/>
                    <a:pt x="0" y="234"/>
                    <a:pt x="1" y="251"/>
                  </a:cubicBezTo>
                  <a:cubicBezTo>
                    <a:pt x="107" y="326"/>
                    <a:pt x="460" y="546"/>
                    <a:pt x="572" y="241"/>
                  </a:cubicBezTo>
                  <a:cubicBezTo>
                    <a:pt x="622" y="106"/>
                    <a:pt x="612" y="35"/>
                    <a:pt x="578" y="0"/>
                  </a:cubicBezTo>
                  <a:cubicBezTo>
                    <a:pt x="610" y="50"/>
                    <a:pt x="620" y="126"/>
                    <a:pt x="554" y="241"/>
                  </a:cubicBezTo>
                  <a:close/>
                </a:path>
              </a:pathLst>
            </a:custGeom>
            <a:solidFill>
              <a:srgbClr val="DBA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AE141F7B-9275-4B77-97FA-36BFDC106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8800" y="2783689"/>
              <a:ext cx="436079" cy="834616"/>
            </a:xfrm>
            <a:custGeom>
              <a:avLst/>
              <a:gdLst>
                <a:gd name="T0" fmla="*/ 993 w 1268"/>
                <a:gd name="T1" fmla="*/ 1951 h 2427"/>
                <a:gd name="T2" fmla="*/ 1207 w 1268"/>
                <a:gd name="T3" fmla="*/ 1737 h 2427"/>
                <a:gd name="T4" fmla="*/ 1185 w 1268"/>
                <a:gd name="T5" fmla="*/ 1638 h 2427"/>
                <a:gd name="T6" fmla="*/ 977 w 1268"/>
                <a:gd name="T7" fmla="*/ 1480 h 2427"/>
                <a:gd name="T8" fmla="*/ 1189 w 1268"/>
                <a:gd name="T9" fmla="*/ 1163 h 2427"/>
                <a:gd name="T10" fmla="*/ 948 w 1268"/>
                <a:gd name="T11" fmla="*/ 999 h 2427"/>
                <a:gd name="T12" fmla="*/ 1200 w 1268"/>
                <a:gd name="T13" fmla="*/ 710 h 2427"/>
                <a:gd name="T14" fmla="*/ 910 w 1268"/>
                <a:gd name="T15" fmla="*/ 537 h 2427"/>
                <a:gd name="T16" fmla="*/ 1142 w 1268"/>
                <a:gd name="T17" fmla="*/ 396 h 2427"/>
                <a:gd name="T18" fmla="*/ 1161 w 1268"/>
                <a:gd name="T19" fmla="*/ 157 h 2427"/>
                <a:gd name="T20" fmla="*/ 898 w 1268"/>
                <a:gd name="T21" fmla="*/ 58 h 2427"/>
                <a:gd name="T22" fmla="*/ 94 w 1268"/>
                <a:gd name="T23" fmla="*/ 443 h 2427"/>
                <a:gd name="T24" fmla="*/ 61 w 1268"/>
                <a:gd name="T25" fmla="*/ 529 h 2427"/>
                <a:gd name="T26" fmla="*/ 131 w 1268"/>
                <a:gd name="T27" fmla="*/ 560 h 2427"/>
                <a:gd name="T28" fmla="*/ 500 w 1268"/>
                <a:gd name="T29" fmla="*/ 774 h 2427"/>
                <a:gd name="T30" fmla="*/ 612 w 1268"/>
                <a:gd name="T31" fmla="*/ 857 h 2427"/>
                <a:gd name="T32" fmla="*/ 606 w 1268"/>
                <a:gd name="T33" fmla="*/ 1098 h 2427"/>
                <a:gd name="T34" fmla="*/ 35 w 1268"/>
                <a:gd name="T35" fmla="*/ 1108 h 2427"/>
                <a:gd name="T36" fmla="*/ 294 w 1268"/>
                <a:gd name="T37" fmla="*/ 1292 h 2427"/>
                <a:gd name="T38" fmla="*/ 48 w 1268"/>
                <a:gd name="T39" fmla="*/ 1635 h 2427"/>
                <a:gd name="T40" fmla="*/ 271 w 1268"/>
                <a:gd name="T41" fmla="*/ 1791 h 2427"/>
                <a:gd name="T42" fmla="*/ 58 w 1268"/>
                <a:gd name="T43" fmla="*/ 1946 h 2427"/>
                <a:gd name="T44" fmla="*/ 30 w 1268"/>
                <a:gd name="T45" fmla="*/ 2126 h 2427"/>
                <a:gd name="T46" fmla="*/ 84 w 1268"/>
                <a:gd name="T47" fmla="*/ 2204 h 2427"/>
                <a:gd name="T48" fmla="*/ 993 w 1268"/>
                <a:gd name="T49" fmla="*/ 1951 h 2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68" h="2427">
                  <a:moveTo>
                    <a:pt x="993" y="1951"/>
                  </a:moveTo>
                  <a:cubicBezTo>
                    <a:pt x="1135" y="1881"/>
                    <a:pt x="1191" y="1805"/>
                    <a:pt x="1207" y="1737"/>
                  </a:cubicBezTo>
                  <a:cubicBezTo>
                    <a:pt x="1206" y="1707"/>
                    <a:pt x="1200" y="1674"/>
                    <a:pt x="1185" y="1638"/>
                  </a:cubicBezTo>
                  <a:cubicBezTo>
                    <a:pt x="1122" y="1486"/>
                    <a:pt x="977" y="1480"/>
                    <a:pt x="977" y="1480"/>
                  </a:cubicBezTo>
                  <a:cubicBezTo>
                    <a:pt x="1103" y="1444"/>
                    <a:pt x="1263" y="1347"/>
                    <a:pt x="1189" y="1163"/>
                  </a:cubicBezTo>
                  <a:cubicBezTo>
                    <a:pt x="1114" y="978"/>
                    <a:pt x="948" y="999"/>
                    <a:pt x="948" y="999"/>
                  </a:cubicBezTo>
                  <a:cubicBezTo>
                    <a:pt x="948" y="999"/>
                    <a:pt x="1268" y="912"/>
                    <a:pt x="1200" y="710"/>
                  </a:cubicBezTo>
                  <a:cubicBezTo>
                    <a:pt x="1132" y="508"/>
                    <a:pt x="910" y="537"/>
                    <a:pt x="910" y="537"/>
                  </a:cubicBezTo>
                  <a:cubicBezTo>
                    <a:pt x="1142" y="396"/>
                    <a:pt x="1142" y="396"/>
                    <a:pt x="1142" y="396"/>
                  </a:cubicBezTo>
                  <a:cubicBezTo>
                    <a:pt x="1142" y="396"/>
                    <a:pt x="1237" y="314"/>
                    <a:pt x="1161" y="157"/>
                  </a:cubicBezTo>
                  <a:cubicBezTo>
                    <a:pt x="1085" y="0"/>
                    <a:pt x="898" y="58"/>
                    <a:pt x="898" y="58"/>
                  </a:cubicBezTo>
                  <a:cubicBezTo>
                    <a:pt x="898" y="58"/>
                    <a:pt x="168" y="395"/>
                    <a:pt x="94" y="443"/>
                  </a:cubicBezTo>
                  <a:cubicBezTo>
                    <a:pt x="68" y="460"/>
                    <a:pt x="60" y="493"/>
                    <a:pt x="61" y="529"/>
                  </a:cubicBezTo>
                  <a:cubicBezTo>
                    <a:pt x="85" y="536"/>
                    <a:pt x="108" y="546"/>
                    <a:pt x="131" y="560"/>
                  </a:cubicBezTo>
                  <a:cubicBezTo>
                    <a:pt x="242" y="626"/>
                    <a:pt x="500" y="774"/>
                    <a:pt x="500" y="774"/>
                  </a:cubicBezTo>
                  <a:cubicBezTo>
                    <a:pt x="500" y="774"/>
                    <a:pt x="573" y="794"/>
                    <a:pt x="612" y="857"/>
                  </a:cubicBezTo>
                  <a:cubicBezTo>
                    <a:pt x="646" y="892"/>
                    <a:pt x="656" y="963"/>
                    <a:pt x="606" y="1098"/>
                  </a:cubicBezTo>
                  <a:cubicBezTo>
                    <a:pt x="494" y="1403"/>
                    <a:pt x="141" y="1183"/>
                    <a:pt x="35" y="1108"/>
                  </a:cubicBezTo>
                  <a:cubicBezTo>
                    <a:pt x="40" y="1294"/>
                    <a:pt x="294" y="1292"/>
                    <a:pt x="294" y="1292"/>
                  </a:cubicBezTo>
                  <a:cubicBezTo>
                    <a:pt x="94" y="1389"/>
                    <a:pt x="0" y="1477"/>
                    <a:pt x="48" y="1635"/>
                  </a:cubicBezTo>
                  <a:cubicBezTo>
                    <a:pt x="97" y="1794"/>
                    <a:pt x="271" y="1791"/>
                    <a:pt x="271" y="1791"/>
                  </a:cubicBezTo>
                  <a:cubicBezTo>
                    <a:pt x="143" y="1833"/>
                    <a:pt x="82" y="1906"/>
                    <a:pt x="58" y="1946"/>
                  </a:cubicBezTo>
                  <a:cubicBezTo>
                    <a:pt x="48" y="1993"/>
                    <a:pt x="39" y="2055"/>
                    <a:pt x="30" y="2126"/>
                  </a:cubicBezTo>
                  <a:cubicBezTo>
                    <a:pt x="44" y="2151"/>
                    <a:pt x="62" y="2177"/>
                    <a:pt x="84" y="2204"/>
                  </a:cubicBezTo>
                  <a:cubicBezTo>
                    <a:pt x="266" y="2427"/>
                    <a:pt x="621" y="2133"/>
                    <a:pt x="993" y="1951"/>
                  </a:cubicBezTo>
                  <a:close/>
                </a:path>
              </a:pathLst>
            </a:custGeom>
            <a:solidFill>
              <a:srgbClr val="EDBC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7AD3E6E5-9652-4520-9685-C24A8492C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5497" y="2956388"/>
              <a:ext cx="588274" cy="293704"/>
            </a:xfrm>
            <a:custGeom>
              <a:avLst/>
              <a:gdLst>
                <a:gd name="T0" fmla="*/ 1668 w 1710"/>
                <a:gd name="T1" fmla="*/ 355 h 854"/>
                <a:gd name="T2" fmla="*/ 1556 w 1710"/>
                <a:gd name="T3" fmla="*/ 272 h 854"/>
                <a:gd name="T4" fmla="*/ 1187 w 1710"/>
                <a:gd name="T5" fmla="*/ 58 h 854"/>
                <a:gd name="T6" fmla="*/ 1117 w 1710"/>
                <a:gd name="T7" fmla="*/ 27 h 854"/>
                <a:gd name="T8" fmla="*/ 944 w 1710"/>
                <a:gd name="T9" fmla="*/ 14 h 854"/>
                <a:gd name="T10" fmla="*/ 295 w 1710"/>
                <a:gd name="T11" fmla="*/ 14 h 854"/>
                <a:gd name="T12" fmla="*/ 0 w 1710"/>
                <a:gd name="T13" fmla="*/ 338 h 854"/>
                <a:gd name="T14" fmla="*/ 0 w 1710"/>
                <a:gd name="T15" fmla="*/ 361 h 854"/>
                <a:gd name="T16" fmla="*/ 709 w 1710"/>
                <a:gd name="T17" fmla="*/ 557 h 854"/>
                <a:gd name="T18" fmla="*/ 685 w 1710"/>
                <a:gd name="T19" fmla="*/ 522 h 854"/>
                <a:gd name="T20" fmla="*/ 1010 w 1710"/>
                <a:gd name="T21" fmla="*/ 500 h 854"/>
                <a:gd name="T22" fmla="*/ 1034 w 1710"/>
                <a:gd name="T23" fmla="*/ 514 h 854"/>
                <a:gd name="T24" fmla="*/ 1096 w 1710"/>
                <a:gd name="T25" fmla="*/ 550 h 854"/>
                <a:gd name="T26" fmla="*/ 1268 w 1710"/>
                <a:gd name="T27" fmla="*/ 648 h 854"/>
                <a:gd name="T28" fmla="*/ 1644 w 1710"/>
                <a:gd name="T29" fmla="*/ 596 h 854"/>
                <a:gd name="T30" fmla="*/ 1668 w 1710"/>
                <a:gd name="T31" fmla="*/ 355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10" h="854">
                  <a:moveTo>
                    <a:pt x="1668" y="355"/>
                  </a:moveTo>
                  <a:cubicBezTo>
                    <a:pt x="1629" y="292"/>
                    <a:pt x="1556" y="272"/>
                    <a:pt x="1556" y="272"/>
                  </a:cubicBezTo>
                  <a:cubicBezTo>
                    <a:pt x="1556" y="272"/>
                    <a:pt x="1298" y="124"/>
                    <a:pt x="1187" y="58"/>
                  </a:cubicBezTo>
                  <a:cubicBezTo>
                    <a:pt x="1164" y="44"/>
                    <a:pt x="1141" y="34"/>
                    <a:pt x="1117" y="27"/>
                  </a:cubicBezTo>
                  <a:cubicBezTo>
                    <a:pt x="1027" y="0"/>
                    <a:pt x="944" y="14"/>
                    <a:pt x="944" y="14"/>
                  </a:cubicBezTo>
                  <a:cubicBezTo>
                    <a:pt x="944" y="14"/>
                    <a:pt x="560" y="14"/>
                    <a:pt x="295" y="14"/>
                  </a:cubicBezTo>
                  <a:cubicBezTo>
                    <a:pt x="29" y="14"/>
                    <a:pt x="0" y="338"/>
                    <a:pt x="0" y="338"/>
                  </a:cubicBezTo>
                  <a:cubicBezTo>
                    <a:pt x="0" y="361"/>
                    <a:pt x="0" y="361"/>
                    <a:pt x="0" y="361"/>
                  </a:cubicBezTo>
                  <a:cubicBezTo>
                    <a:pt x="219" y="425"/>
                    <a:pt x="519" y="512"/>
                    <a:pt x="709" y="557"/>
                  </a:cubicBezTo>
                  <a:cubicBezTo>
                    <a:pt x="694" y="535"/>
                    <a:pt x="685" y="522"/>
                    <a:pt x="685" y="522"/>
                  </a:cubicBezTo>
                  <a:cubicBezTo>
                    <a:pt x="1010" y="500"/>
                    <a:pt x="1010" y="500"/>
                    <a:pt x="1010" y="500"/>
                  </a:cubicBezTo>
                  <a:cubicBezTo>
                    <a:pt x="1034" y="514"/>
                    <a:pt x="1034" y="514"/>
                    <a:pt x="1034" y="514"/>
                  </a:cubicBezTo>
                  <a:cubicBezTo>
                    <a:pt x="1096" y="550"/>
                    <a:pt x="1096" y="550"/>
                    <a:pt x="1096" y="550"/>
                  </a:cubicBezTo>
                  <a:cubicBezTo>
                    <a:pt x="1268" y="648"/>
                    <a:pt x="1268" y="648"/>
                    <a:pt x="1268" y="648"/>
                  </a:cubicBezTo>
                  <a:cubicBezTo>
                    <a:pt x="1268" y="648"/>
                    <a:pt x="1497" y="854"/>
                    <a:pt x="1644" y="596"/>
                  </a:cubicBezTo>
                  <a:cubicBezTo>
                    <a:pt x="1710" y="481"/>
                    <a:pt x="1700" y="405"/>
                    <a:pt x="1668" y="355"/>
                  </a:cubicBezTo>
                  <a:close/>
                </a:path>
              </a:pathLst>
            </a:custGeom>
            <a:solidFill>
              <a:srgbClr val="EDBC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id="{F42CB2A1-4AC2-405B-84DB-0FABADF8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8488" y="3752594"/>
              <a:ext cx="264536" cy="224682"/>
            </a:xfrm>
            <a:custGeom>
              <a:avLst/>
              <a:gdLst>
                <a:gd name="T0" fmla="*/ 769 w 769"/>
                <a:gd name="T1" fmla="*/ 0 h 653"/>
                <a:gd name="T2" fmla="*/ 123 w 769"/>
                <a:gd name="T3" fmla="*/ 0 h 653"/>
                <a:gd name="T4" fmla="*/ 0 w 769"/>
                <a:gd name="T5" fmla="*/ 109 h 653"/>
                <a:gd name="T6" fmla="*/ 0 w 769"/>
                <a:gd name="T7" fmla="*/ 544 h 653"/>
                <a:gd name="T8" fmla="*/ 123 w 769"/>
                <a:gd name="T9" fmla="*/ 653 h 653"/>
                <a:gd name="T10" fmla="*/ 769 w 769"/>
                <a:gd name="T11" fmla="*/ 653 h 653"/>
                <a:gd name="T12" fmla="*/ 769 w 769"/>
                <a:gd name="T13" fmla="*/ 505 h 653"/>
                <a:gd name="T14" fmla="*/ 769 w 769"/>
                <a:gd name="T15" fmla="*/ 0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9" h="653">
                  <a:moveTo>
                    <a:pt x="769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55" y="0"/>
                    <a:pt x="0" y="49"/>
                    <a:pt x="0" y="109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604"/>
                    <a:pt x="55" y="653"/>
                    <a:pt x="123" y="653"/>
                  </a:cubicBezTo>
                  <a:cubicBezTo>
                    <a:pt x="769" y="653"/>
                    <a:pt x="769" y="653"/>
                    <a:pt x="769" y="653"/>
                  </a:cubicBezTo>
                  <a:cubicBezTo>
                    <a:pt x="769" y="505"/>
                    <a:pt x="769" y="505"/>
                    <a:pt x="769" y="505"/>
                  </a:cubicBezTo>
                  <a:lnTo>
                    <a:pt x="769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DC02AD9B-E108-4133-BA02-0C20FD53C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3024" y="3752594"/>
              <a:ext cx="264536" cy="224682"/>
            </a:xfrm>
            <a:custGeom>
              <a:avLst/>
              <a:gdLst>
                <a:gd name="T0" fmla="*/ 646 w 769"/>
                <a:gd name="T1" fmla="*/ 0 h 653"/>
                <a:gd name="T2" fmla="*/ 0 w 769"/>
                <a:gd name="T3" fmla="*/ 0 h 653"/>
                <a:gd name="T4" fmla="*/ 0 w 769"/>
                <a:gd name="T5" fmla="*/ 505 h 653"/>
                <a:gd name="T6" fmla="*/ 0 w 769"/>
                <a:gd name="T7" fmla="*/ 653 h 653"/>
                <a:gd name="T8" fmla="*/ 646 w 769"/>
                <a:gd name="T9" fmla="*/ 653 h 653"/>
                <a:gd name="T10" fmla="*/ 769 w 769"/>
                <a:gd name="T11" fmla="*/ 544 h 653"/>
                <a:gd name="T12" fmla="*/ 769 w 769"/>
                <a:gd name="T13" fmla="*/ 109 h 653"/>
                <a:gd name="T14" fmla="*/ 646 w 769"/>
                <a:gd name="T15" fmla="*/ 0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9" h="653">
                  <a:moveTo>
                    <a:pt x="6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05"/>
                    <a:pt x="0" y="505"/>
                    <a:pt x="0" y="505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646" y="653"/>
                    <a:pt x="646" y="653"/>
                    <a:pt x="646" y="653"/>
                  </a:cubicBezTo>
                  <a:cubicBezTo>
                    <a:pt x="714" y="653"/>
                    <a:pt x="769" y="604"/>
                    <a:pt x="769" y="544"/>
                  </a:cubicBezTo>
                  <a:cubicBezTo>
                    <a:pt x="769" y="109"/>
                    <a:pt x="769" y="109"/>
                    <a:pt x="769" y="109"/>
                  </a:cubicBezTo>
                  <a:cubicBezTo>
                    <a:pt x="769" y="49"/>
                    <a:pt x="714" y="0"/>
                    <a:pt x="646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D29F5BFE-7F2E-490A-9723-1750544F6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0136" y="3834034"/>
              <a:ext cx="298036" cy="3023966"/>
            </a:xfrm>
            <a:custGeom>
              <a:avLst/>
              <a:gdLst>
                <a:gd name="T0" fmla="*/ 747 w 866"/>
                <a:gd name="T1" fmla="*/ 0 h 8795"/>
                <a:gd name="T2" fmla="*/ 0 w 866"/>
                <a:gd name="T3" fmla="*/ 0 h 8795"/>
                <a:gd name="T4" fmla="*/ 0 w 866"/>
                <a:gd name="T5" fmla="*/ 8795 h 8795"/>
                <a:gd name="T6" fmla="*/ 747 w 866"/>
                <a:gd name="T7" fmla="*/ 8795 h 8795"/>
                <a:gd name="T8" fmla="*/ 866 w 866"/>
                <a:gd name="T9" fmla="*/ 8722 h 8795"/>
                <a:gd name="T10" fmla="*/ 866 w 866"/>
                <a:gd name="T11" fmla="*/ 73 h 8795"/>
                <a:gd name="T12" fmla="*/ 747 w 866"/>
                <a:gd name="T13" fmla="*/ 0 h 8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6" h="8795">
                  <a:moveTo>
                    <a:pt x="7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795"/>
                    <a:pt x="0" y="8795"/>
                    <a:pt x="0" y="8795"/>
                  </a:cubicBezTo>
                  <a:cubicBezTo>
                    <a:pt x="747" y="8795"/>
                    <a:pt x="747" y="8795"/>
                    <a:pt x="747" y="8795"/>
                  </a:cubicBezTo>
                  <a:cubicBezTo>
                    <a:pt x="813" y="8795"/>
                    <a:pt x="866" y="8762"/>
                    <a:pt x="866" y="8722"/>
                  </a:cubicBezTo>
                  <a:cubicBezTo>
                    <a:pt x="866" y="73"/>
                    <a:pt x="866" y="73"/>
                    <a:pt x="866" y="73"/>
                  </a:cubicBezTo>
                  <a:cubicBezTo>
                    <a:pt x="866" y="33"/>
                    <a:pt x="813" y="0"/>
                    <a:pt x="747" y="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BDFE9375-0566-4687-B472-B088F1940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2100" y="3834034"/>
              <a:ext cx="298036" cy="3023966"/>
            </a:xfrm>
            <a:custGeom>
              <a:avLst/>
              <a:gdLst>
                <a:gd name="T0" fmla="*/ 119 w 867"/>
                <a:gd name="T1" fmla="*/ 0 h 8795"/>
                <a:gd name="T2" fmla="*/ 0 w 867"/>
                <a:gd name="T3" fmla="*/ 73 h 8795"/>
                <a:gd name="T4" fmla="*/ 0 w 867"/>
                <a:gd name="T5" fmla="*/ 8722 h 8795"/>
                <a:gd name="T6" fmla="*/ 119 w 867"/>
                <a:gd name="T7" fmla="*/ 8795 h 8795"/>
                <a:gd name="T8" fmla="*/ 867 w 867"/>
                <a:gd name="T9" fmla="*/ 8795 h 8795"/>
                <a:gd name="T10" fmla="*/ 867 w 867"/>
                <a:gd name="T11" fmla="*/ 0 h 8795"/>
                <a:gd name="T12" fmla="*/ 119 w 867"/>
                <a:gd name="T13" fmla="*/ 0 h 8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7" h="8795">
                  <a:moveTo>
                    <a:pt x="119" y="0"/>
                  </a:moveTo>
                  <a:cubicBezTo>
                    <a:pt x="53" y="0"/>
                    <a:pt x="0" y="33"/>
                    <a:pt x="0" y="73"/>
                  </a:cubicBezTo>
                  <a:cubicBezTo>
                    <a:pt x="0" y="8722"/>
                    <a:pt x="0" y="8722"/>
                    <a:pt x="0" y="8722"/>
                  </a:cubicBezTo>
                  <a:cubicBezTo>
                    <a:pt x="0" y="8762"/>
                    <a:pt x="53" y="8795"/>
                    <a:pt x="119" y="8795"/>
                  </a:cubicBezTo>
                  <a:cubicBezTo>
                    <a:pt x="867" y="8795"/>
                    <a:pt x="867" y="8795"/>
                    <a:pt x="867" y="8795"/>
                  </a:cubicBezTo>
                  <a:cubicBezTo>
                    <a:pt x="867" y="0"/>
                    <a:pt x="867" y="0"/>
                    <a:pt x="867" y="0"/>
                  </a:cubicBezTo>
                  <a:lnTo>
                    <a:pt x="119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7" name="Oval 22">
              <a:extLst>
                <a:ext uri="{FF2B5EF4-FFF2-40B4-BE49-F238E27FC236}">
                  <a16:creationId xmlns:a16="http://schemas.microsoft.com/office/drawing/2014/main" id="{82BA5748-2E19-412F-B5DD-9FC3F549AD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5253" y="3920095"/>
              <a:ext cx="82306" cy="7277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8" name="Oval 23">
              <a:extLst>
                <a:ext uri="{FF2B5EF4-FFF2-40B4-BE49-F238E27FC236}">
                  <a16:creationId xmlns:a16="http://schemas.microsoft.com/office/drawing/2014/main" id="{B1BEAAFA-EB13-4B56-A356-D39D34766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5253" y="4117630"/>
              <a:ext cx="82306" cy="7277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39" name="Oval 24">
              <a:extLst>
                <a:ext uri="{FF2B5EF4-FFF2-40B4-BE49-F238E27FC236}">
                  <a16:creationId xmlns:a16="http://schemas.microsoft.com/office/drawing/2014/main" id="{FA7504C4-716D-4E15-9E2B-3253BA885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5253" y="4018863"/>
              <a:ext cx="82306" cy="72776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40" name="Oval 25">
            <a:extLst>
              <a:ext uri="{FF2B5EF4-FFF2-40B4-BE49-F238E27FC236}">
                <a16:creationId xmlns:a16="http://schemas.microsoft.com/office/drawing/2014/main" id="{5AAEBDB9-9EB4-4219-AF85-99D1C1C62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4003" y="1019521"/>
            <a:ext cx="599754" cy="599537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1" name="Oval 27">
            <a:extLst>
              <a:ext uri="{FF2B5EF4-FFF2-40B4-BE49-F238E27FC236}">
                <a16:creationId xmlns:a16="http://schemas.microsoft.com/office/drawing/2014/main" id="{B47F92FB-181B-4BBD-B48C-669A2C7B31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2070" y="3051406"/>
            <a:ext cx="368646" cy="368646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89000"/>
                </a:schemeClr>
              </a:gs>
              <a:gs pos="23000">
                <a:schemeClr val="accent4">
                  <a:lumMod val="89000"/>
                </a:schemeClr>
              </a:gs>
              <a:gs pos="69000">
                <a:schemeClr val="accent4">
                  <a:lumMod val="75000"/>
                </a:schemeClr>
              </a:gs>
              <a:gs pos="97000">
                <a:schemeClr val="accent4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2" name="Oval 29">
            <a:extLst>
              <a:ext uri="{FF2B5EF4-FFF2-40B4-BE49-F238E27FC236}">
                <a16:creationId xmlns:a16="http://schemas.microsoft.com/office/drawing/2014/main" id="{2A390A9F-9C90-4E6B-A0F2-ADA883C3D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7054" y="4017423"/>
            <a:ext cx="401786" cy="401786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3" name="Oval 30">
            <a:extLst>
              <a:ext uri="{FF2B5EF4-FFF2-40B4-BE49-F238E27FC236}">
                <a16:creationId xmlns:a16="http://schemas.microsoft.com/office/drawing/2014/main" id="{35A00CED-83C9-4FF2-A3F1-B11832949A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5935" y="5504569"/>
            <a:ext cx="370379" cy="370163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4" name="Oval 31">
            <a:extLst>
              <a:ext uri="{FF2B5EF4-FFF2-40B4-BE49-F238E27FC236}">
                <a16:creationId xmlns:a16="http://schemas.microsoft.com/office/drawing/2014/main" id="{5180C153-106A-4076-8DC3-4F6A755F5C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977" y="4500433"/>
            <a:ext cx="404601" cy="404384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5" name="Oval 32">
            <a:extLst>
              <a:ext uri="{FF2B5EF4-FFF2-40B4-BE49-F238E27FC236}">
                <a16:creationId xmlns:a16="http://schemas.microsoft.com/office/drawing/2014/main" id="{0EA7047C-C302-48E4-AC93-7616EFCADE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15" y="1891319"/>
            <a:ext cx="368429" cy="368213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7FAEE76A-1CFA-424F-AA6D-A7ABB8E6CDDE}"/>
              </a:ext>
            </a:extLst>
          </p:cNvPr>
          <p:cNvSpPr/>
          <p:nvPr/>
        </p:nvSpPr>
        <p:spPr>
          <a:xfrm>
            <a:off x="151926" y="1667122"/>
            <a:ext cx="273827" cy="27382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16FB170-76B8-4ABB-A503-F85F8FAE2E5C}"/>
              </a:ext>
            </a:extLst>
          </p:cNvPr>
          <p:cNvSpPr txBox="1"/>
          <p:nvPr/>
        </p:nvSpPr>
        <p:spPr>
          <a:xfrm>
            <a:off x="109475" y="1619195"/>
            <a:ext cx="452854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1</a:t>
            </a:r>
            <a:endParaRPr lang="en-US" sz="14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3707F361-AD00-4808-A6EF-A4B87CE118FF}"/>
              </a:ext>
            </a:extLst>
          </p:cNvPr>
          <p:cNvSpPr/>
          <p:nvPr/>
        </p:nvSpPr>
        <p:spPr>
          <a:xfrm>
            <a:off x="147412" y="4425550"/>
            <a:ext cx="273827" cy="273827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89000"/>
                </a:schemeClr>
              </a:gs>
              <a:gs pos="23000">
                <a:schemeClr val="accent4">
                  <a:lumMod val="89000"/>
                </a:schemeClr>
              </a:gs>
              <a:gs pos="69000">
                <a:schemeClr val="accent4">
                  <a:lumMod val="75000"/>
                </a:schemeClr>
              </a:gs>
              <a:gs pos="97000">
                <a:schemeClr val="accent4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D45E554-E9ED-43FB-8B07-756080BA75A0}"/>
              </a:ext>
            </a:extLst>
          </p:cNvPr>
          <p:cNvSpPr txBox="1"/>
          <p:nvPr/>
        </p:nvSpPr>
        <p:spPr>
          <a:xfrm>
            <a:off x="29507" y="4395194"/>
            <a:ext cx="475711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4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FE59029-3F61-4357-9602-00916888E3DF}"/>
              </a:ext>
            </a:extLst>
          </p:cNvPr>
          <p:cNvSpPr/>
          <p:nvPr/>
        </p:nvSpPr>
        <p:spPr>
          <a:xfrm>
            <a:off x="241852" y="2520841"/>
            <a:ext cx="252311" cy="268995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89000"/>
                </a:schemeClr>
              </a:gs>
              <a:gs pos="23000">
                <a:schemeClr val="accent2">
                  <a:lumMod val="89000"/>
                </a:schemeClr>
              </a:gs>
              <a:gs pos="69000">
                <a:schemeClr val="accent2">
                  <a:lumMod val="75000"/>
                </a:schemeClr>
              </a:gs>
              <a:gs pos="97000">
                <a:schemeClr val="accent2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EAA021E-F54E-4181-9BC8-1709C0CD7591}"/>
              </a:ext>
            </a:extLst>
          </p:cNvPr>
          <p:cNvSpPr txBox="1"/>
          <p:nvPr/>
        </p:nvSpPr>
        <p:spPr>
          <a:xfrm>
            <a:off x="97876" y="2471067"/>
            <a:ext cx="52468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2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EB340239-EA33-4C3F-B68C-A8A2D9CFCFEE}"/>
              </a:ext>
            </a:extLst>
          </p:cNvPr>
          <p:cNvSpPr/>
          <p:nvPr/>
        </p:nvSpPr>
        <p:spPr>
          <a:xfrm>
            <a:off x="223304" y="5437562"/>
            <a:ext cx="273827" cy="273827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F30636C-B53B-47D8-9EB4-4058D9F9FA87}"/>
              </a:ext>
            </a:extLst>
          </p:cNvPr>
          <p:cNvSpPr txBox="1"/>
          <p:nvPr/>
        </p:nvSpPr>
        <p:spPr>
          <a:xfrm>
            <a:off x="139436" y="5417356"/>
            <a:ext cx="45714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5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A7143111-82A1-4644-9947-C9BFE5E31E16}"/>
              </a:ext>
            </a:extLst>
          </p:cNvPr>
          <p:cNvSpPr/>
          <p:nvPr/>
        </p:nvSpPr>
        <p:spPr>
          <a:xfrm>
            <a:off x="222412" y="3421136"/>
            <a:ext cx="273827" cy="273827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89000"/>
                </a:schemeClr>
              </a:gs>
              <a:gs pos="23000">
                <a:schemeClr val="accent3">
                  <a:lumMod val="89000"/>
                </a:schemeClr>
              </a:gs>
              <a:gs pos="69000">
                <a:schemeClr val="accent3">
                  <a:lumMod val="75000"/>
                </a:schemeClr>
              </a:gs>
              <a:gs pos="97000">
                <a:schemeClr val="accent3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1E60A8C-8953-4AC8-A40C-40A72424D0F2}"/>
              </a:ext>
            </a:extLst>
          </p:cNvPr>
          <p:cNvSpPr txBox="1"/>
          <p:nvPr/>
        </p:nvSpPr>
        <p:spPr>
          <a:xfrm>
            <a:off x="125224" y="3401590"/>
            <a:ext cx="456313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3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167ECB83-DBAE-4877-9DB4-70B20F501C5A}"/>
              </a:ext>
            </a:extLst>
          </p:cNvPr>
          <p:cNvSpPr/>
          <p:nvPr/>
        </p:nvSpPr>
        <p:spPr>
          <a:xfrm>
            <a:off x="223304" y="6285791"/>
            <a:ext cx="273827" cy="22661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67446085-84C2-4AB0-924E-BF1B45FF80D7}"/>
              </a:ext>
            </a:extLst>
          </p:cNvPr>
          <p:cNvSpPr txBox="1"/>
          <p:nvPr/>
        </p:nvSpPr>
        <p:spPr>
          <a:xfrm>
            <a:off x="110151" y="6200929"/>
            <a:ext cx="464257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6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B47254B-3D22-49CF-9E46-B3AA78F07895}"/>
              </a:ext>
            </a:extLst>
          </p:cNvPr>
          <p:cNvSpPr txBox="1"/>
          <p:nvPr/>
        </p:nvSpPr>
        <p:spPr>
          <a:xfrm>
            <a:off x="445804" y="1611131"/>
            <a:ext cx="2132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ject idea and goals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D21E130-30E8-476A-B8C8-63572ABAEB6C}"/>
              </a:ext>
            </a:extLst>
          </p:cNvPr>
          <p:cNvSpPr txBox="1"/>
          <p:nvPr/>
        </p:nvSpPr>
        <p:spPr>
          <a:xfrm>
            <a:off x="445804" y="4313133"/>
            <a:ext cx="21291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chine learning in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curity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B8B8000-B34C-4DF1-9B27-8EE48164E047}"/>
              </a:ext>
            </a:extLst>
          </p:cNvPr>
          <p:cNvSpPr txBox="1"/>
          <p:nvPr/>
        </p:nvSpPr>
        <p:spPr>
          <a:xfrm>
            <a:off x="539455" y="2480536"/>
            <a:ext cx="16426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lated  works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34F4A6B-68FF-4381-ABE5-7BF1EC897327}"/>
              </a:ext>
            </a:extLst>
          </p:cNvPr>
          <p:cNvSpPr txBox="1"/>
          <p:nvPr/>
        </p:nvSpPr>
        <p:spPr>
          <a:xfrm>
            <a:off x="521696" y="5402089"/>
            <a:ext cx="21403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dit card fraud 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tection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80E1374-5679-4703-A8F9-2A205F06F415}"/>
              </a:ext>
            </a:extLst>
          </p:cNvPr>
          <p:cNvSpPr txBox="1"/>
          <p:nvPr/>
        </p:nvSpPr>
        <p:spPr>
          <a:xfrm>
            <a:off x="541531" y="3413683"/>
            <a:ext cx="1885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chine learning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E68F3E-9B80-4637-A3F2-EFD38720CDF0}"/>
              </a:ext>
            </a:extLst>
          </p:cNvPr>
          <p:cNvSpPr txBox="1"/>
          <p:nvPr/>
        </p:nvSpPr>
        <p:spPr>
          <a:xfrm>
            <a:off x="521696" y="6231121"/>
            <a:ext cx="2140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ser data in dataset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89" name="Graphic 88" descr="Computer">
            <a:extLst>
              <a:ext uri="{FF2B5EF4-FFF2-40B4-BE49-F238E27FC236}">
                <a16:creationId xmlns:a16="http://schemas.microsoft.com/office/drawing/2014/main" id="{00846DB8-B011-4208-A81C-8B3A9198A86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43620" y="1951966"/>
            <a:ext cx="270000" cy="270000"/>
          </a:xfrm>
          <a:prstGeom prst="rect">
            <a:avLst/>
          </a:prstGeom>
        </p:spPr>
      </p:pic>
      <p:pic>
        <p:nvPicPr>
          <p:cNvPr id="91" name="Graphic 90" descr="Processor">
            <a:extLst>
              <a:ext uri="{FF2B5EF4-FFF2-40B4-BE49-F238E27FC236}">
                <a16:creationId xmlns:a16="http://schemas.microsoft.com/office/drawing/2014/main" id="{2E76335E-D90A-425B-87B9-8C4E65FA17B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1393" y="3098646"/>
            <a:ext cx="270000" cy="270000"/>
          </a:xfrm>
          <a:prstGeom prst="rect">
            <a:avLst/>
          </a:prstGeom>
        </p:spPr>
      </p:pic>
      <p:pic>
        <p:nvPicPr>
          <p:cNvPr id="93" name="Graphic 92" descr="Wireless router">
            <a:extLst>
              <a:ext uri="{FF2B5EF4-FFF2-40B4-BE49-F238E27FC236}">
                <a16:creationId xmlns:a16="http://schemas.microsoft.com/office/drawing/2014/main" id="{35CB8C45-7019-4CA5-A267-BD0436741CB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38539" y="3157946"/>
            <a:ext cx="270000" cy="270000"/>
          </a:xfrm>
          <a:prstGeom prst="rect">
            <a:avLst/>
          </a:prstGeom>
        </p:spPr>
      </p:pic>
      <p:pic>
        <p:nvPicPr>
          <p:cNvPr id="95" name="Graphic 94" descr="Monitor">
            <a:extLst>
              <a:ext uri="{FF2B5EF4-FFF2-40B4-BE49-F238E27FC236}">
                <a16:creationId xmlns:a16="http://schemas.microsoft.com/office/drawing/2014/main" id="{5F5D4F31-5820-4DE8-A936-459B609A493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11983" y="4098958"/>
            <a:ext cx="270000" cy="270000"/>
          </a:xfrm>
          <a:prstGeom prst="rect">
            <a:avLst/>
          </a:prstGeom>
        </p:spPr>
      </p:pic>
      <p:pic>
        <p:nvPicPr>
          <p:cNvPr id="97" name="Graphic 96" descr="Smart Phone">
            <a:extLst>
              <a:ext uri="{FF2B5EF4-FFF2-40B4-BE49-F238E27FC236}">
                <a16:creationId xmlns:a16="http://schemas.microsoft.com/office/drawing/2014/main" id="{93A24EB3-8B38-4C6F-AA68-C9849DDA0B0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65278" y="4567624"/>
            <a:ext cx="270000" cy="270000"/>
          </a:xfrm>
          <a:prstGeom prst="rect">
            <a:avLst/>
          </a:prstGeom>
        </p:spPr>
      </p:pic>
      <p:pic>
        <p:nvPicPr>
          <p:cNvPr id="99" name="Graphic 98" descr="Disk">
            <a:extLst>
              <a:ext uri="{FF2B5EF4-FFF2-40B4-BE49-F238E27FC236}">
                <a16:creationId xmlns:a16="http://schemas.microsoft.com/office/drawing/2014/main" id="{E5488743-E153-4B24-B875-4B857404F31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15712" y="5567261"/>
            <a:ext cx="270000" cy="270000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F8BFE46B-8830-4901-9A27-B6C222E1E053}"/>
              </a:ext>
            </a:extLst>
          </p:cNvPr>
          <p:cNvSpPr txBox="1"/>
          <p:nvPr/>
        </p:nvSpPr>
        <p:spPr>
          <a:xfrm>
            <a:off x="8241695" y="1123081"/>
            <a:ext cx="4843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00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</a:t>
            </a:r>
            <a:endParaRPr lang="en-IN" sz="2100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4877847-B67D-4F1A-B588-9125882CAD2A}"/>
              </a:ext>
            </a:extLst>
          </p:cNvPr>
          <p:cNvSpPr/>
          <p:nvPr/>
        </p:nvSpPr>
        <p:spPr>
          <a:xfrm>
            <a:off x="0" y="480855"/>
            <a:ext cx="223009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bg1">
                    <a:lumMod val="95000"/>
                  </a:schemeClr>
                </a:solidFill>
                <a:latin typeface="Century" panose="02040604050505020304" pitchFamily="18" charset="0"/>
                <a:ea typeface="Cambria" panose="02040503050406030204" pitchFamily="18" charset="0"/>
              </a:rPr>
              <a:t>Outlines </a:t>
            </a:r>
            <a:r>
              <a:rPr lang="en-US" sz="3600" dirty="0">
                <a:solidFill>
                  <a:schemeClr val="bg1">
                    <a:lumMod val="95000"/>
                  </a:schemeClr>
                </a:solidFill>
                <a:latin typeface="Bahnschrift Condensed" panose="020B0502040204020203" pitchFamily="34" charset="0"/>
                <a:ea typeface="Cambria" panose="02040503050406030204" pitchFamily="18" charset="0"/>
              </a:rPr>
              <a:t>:</a:t>
            </a:r>
            <a:endParaRPr lang="en-IN" sz="3600" dirty="0">
              <a:solidFill>
                <a:schemeClr val="bg1">
                  <a:lumMod val="95000"/>
                </a:schemeClr>
              </a:solidFill>
              <a:latin typeface="Bahnschrift Condensed" panose="020B0502040204020203" pitchFamily="34" charset="0"/>
              <a:ea typeface="Cambria" panose="02040503050406030204" pitchFamily="18" charset="0"/>
            </a:endParaRPr>
          </a:p>
        </p:txBody>
      </p:sp>
      <p:sp>
        <p:nvSpPr>
          <p:cNvPr id="73" name="Oval 73">
            <a:extLst>
              <a:ext uri="{FF2B5EF4-FFF2-40B4-BE49-F238E27FC236}">
                <a16:creationId xmlns:a16="http://schemas.microsoft.com/office/drawing/2014/main" id="{EB340239-EA33-4C3F-B68C-A8A2D9CFCFEE}"/>
              </a:ext>
            </a:extLst>
          </p:cNvPr>
          <p:cNvSpPr/>
          <p:nvPr/>
        </p:nvSpPr>
        <p:spPr>
          <a:xfrm>
            <a:off x="3513889" y="1699167"/>
            <a:ext cx="273827" cy="273827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6" name="TextBox 74">
            <a:extLst>
              <a:ext uri="{FF2B5EF4-FFF2-40B4-BE49-F238E27FC236}">
                <a16:creationId xmlns:a16="http://schemas.microsoft.com/office/drawing/2014/main" id="{2F30636C-B53B-47D8-9EB4-4058D9F9FA87}"/>
              </a:ext>
            </a:extLst>
          </p:cNvPr>
          <p:cNvSpPr txBox="1"/>
          <p:nvPr/>
        </p:nvSpPr>
        <p:spPr>
          <a:xfrm>
            <a:off x="3408329" y="1660926"/>
            <a:ext cx="45714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7</a:t>
            </a:r>
          </a:p>
        </p:txBody>
      </p:sp>
      <p:sp>
        <p:nvSpPr>
          <p:cNvPr id="79" name="Oval 79">
            <a:extLst>
              <a:ext uri="{FF2B5EF4-FFF2-40B4-BE49-F238E27FC236}">
                <a16:creationId xmlns:a16="http://schemas.microsoft.com/office/drawing/2014/main" id="{167ECB83-DBAE-4877-9DB4-70B20F501C5A}"/>
              </a:ext>
            </a:extLst>
          </p:cNvPr>
          <p:cNvSpPr/>
          <p:nvPr/>
        </p:nvSpPr>
        <p:spPr>
          <a:xfrm>
            <a:off x="3498638" y="2505202"/>
            <a:ext cx="273827" cy="273827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8" name="TextBox 80">
            <a:extLst>
              <a:ext uri="{FF2B5EF4-FFF2-40B4-BE49-F238E27FC236}">
                <a16:creationId xmlns:a16="http://schemas.microsoft.com/office/drawing/2014/main" id="{67446085-84C2-4AB0-924E-BF1B45FF80D7}"/>
              </a:ext>
            </a:extLst>
          </p:cNvPr>
          <p:cNvSpPr txBox="1"/>
          <p:nvPr/>
        </p:nvSpPr>
        <p:spPr>
          <a:xfrm>
            <a:off x="3360339" y="2497929"/>
            <a:ext cx="47099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8</a:t>
            </a:r>
          </a:p>
        </p:txBody>
      </p:sp>
      <p:sp>
        <p:nvSpPr>
          <p:cNvPr id="90" name="TextBox 84">
            <a:extLst>
              <a:ext uri="{FF2B5EF4-FFF2-40B4-BE49-F238E27FC236}">
                <a16:creationId xmlns:a16="http://schemas.microsoft.com/office/drawing/2014/main" id="{C34F4A6B-68FF-4381-ABE5-7BF1EC897327}"/>
              </a:ext>
            </a:extLst>
          </p:cNvPr>
          <p:cNvSpPr txBox="1"/>
          <p:nvPr/>
        </p:nvSpPr>
        <p:spPr>
          <a:xfrm>
            <a:off x="3812281" y="1663694"/>
            <a:ext cx="30043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chine learning algorithms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2" name="TextBox 86">
            <a:extLst>
              <a:ext uri="{FF2B5EF4-FFF2-40B4-BE49-F238E27FC236}">
                <a16:creationId xmlns:a16="http://schemas.microsoft.com/office/drawing/2014/main" id="{03E68F3E-9B80-4637-A3F2-EFD38720CDF0}"/>
              </a:ext>
            </a:extLst>
          </p:cNvPr>
          <p:cNvSpPr txBox="1"/>
          <p:nvPr/>
        </p:nvSpPr>
        <p:spPr>
          <a:xfrm>
            <a:off x="3784908" y="2451824"/>
            <a:ext cx="7682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ols</a:t>
            </a:r>
            <a:endParaRPr lang="en-IN" sz="2000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4" name="Oval 73">
            <a:extLst>
              <a:ext uri="{FF2B5EF4-FFF2-40B4-BE49-F238E27FC236}">
                <a16:creationId xmlns:a16="http://schemas.microsoft.com/office/drawing/2014/main" id="{EB340239-EA33-4C3F-B68C-A8A2D9CFCFEE}"/>
              </a:ext>
            </a:extLst>
          </p:cNvPr>
          <p:cNvSpPr/>
          <p:nvPr/>
        </p:nvSpPr>
        <p:spPr>
          <a:xfrm>
            <a:off x="3445415" y="3451249"/>
            <a:ext cx="312675" cy="271734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6" name="Oval 79">
            <a:extLst>
              <a:ext uri="{FF2B5EF4-FFF2-40B4-BE49-F238E27FC236}">
                <a16:creationId xmlns:a16="http://schemas.microsoft.com/office/drawing/2014/main" id="{167ECB83-DBAE-4877-9DB4-70B20F501C5A}"/>
              </a:ext>
            </a:extLst>
          </p:cNvPr>
          <p:cNvSpPr/>
          <p:nvPr/>
        </p:nvSpPr>
        <p:spPr>
          <a:xfrm>
            <a:off x="3437312" y="4474717"/>
            <a:ext cx="296213" cy="257595"/>
          </a:xfrm>
          <a:prstGeom prst="ellipse">
            <a:avLst/>
          </a:prstGeom>
          <a:gradFill flip="none" rotWithShape="1">
            <a:gsLst>
              <a:gs pos="0">
                <a:srgbClr val="EFF1F5">
                  <a:shade val="30000"/>
                  <a:satMod val="115000"/>
                </a:srgbClr>
              </a:gs>
              <a:gs pos="50000">
                <a:srgbClr val="EFF1F5">
                  <a:shade val="67500"/>
                  <a:satMod val="115000"/>
                </a:srgbClr>
              </a:gs>
              <a:gs pos="100000">
                <a:srgbClr val="EFF1F5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8" name="TextBox 80">
            <a:extLst>
              <a:ext uri="{FF2B5EF4-FFF2-40B4-BE49-F238E27FC236}">
                <a16:creationId xmlns:a16="http://schemas.microsoft.com/office/drawing/2014/main" id="{67446085-84C2-4AB0-924E-BF1B45FF80D7}"/>
              </a:ext>
            </a:extLst>
          </p:cNvPr>
          <p:cNvSpPr txBox="1"/>
          <p:nvPr/>
        </p:nvSpPr>
        <p:spPr>
          <a:xfrm>
            <a:off x="3320815" y="4408160"/>
            <a:ext cx="52920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0</a:t>
            </a:r>
          </a:p>
        </p:txBody>
      </p:sp>
      <p:sp>
        <p:nvSpPr>
          <p:cNvPr id="102" name="TextBox 84">
            <a:extLst>
              <a:ext uri="{FF2B5EF4-FFF2-40B4-BE49-F238E27FC236}">
                <a16:creationId xmlns:a16="http://schemas.microsoft.com/office/drawing/2014/main" id="{C34F4A6B-68FF-4381-ABE5-7BF1EC897327}"/>
              </a:ext>
            </a:extLst>
          </p:cNvPr>
          <p:cNvSpPr txBox="1"/>
          <p:nvPr/>
        </p:nvSpPr>
        <p:spPr>
          <a:xfrm>
            <a:off x="3782654" y="3413683"/>
            <a:ext cx="1771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mplementation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3" name="TextBox 86">
            <a:extLst>
              <a:ext uri="{FF2B5EF4-FFF2-40B4-BE49-F238E27FC236}">
                <a16:creationId xmlns:a16="http://schemas.microsoft.com/office/drawing/2014/main" id="{03E68F3E-9B80-4637-A3F2-EFD38720CDF0}"/>
              </a:ext>
            </a:extLst>
          </p:cNvPr>
          <p:cNvSpPr txBox="1"/>
          <p:nvPr/>
        </p:nvSpPr>
        <p:spPr>
          <a:xfrm>
            <a:off x="3758090" y="4451032"/>
            <a:ext cx="763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mo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5" name="Oval 73">
            <a:extLst>
              <a:ext uri="{FF2B5EF4-FFF2-40B4-BE49-F238E27FC236}">
                <a16:creationId xmlns:a16="http://schemas.microsoft.com/office/drawing/2014/main" id="{EB340239-EA33-4C3F-B68C-A8A2D9CFCFEE}"/>
              </a:ext>
            </a:extLst>
          </p:cNvPr>
          <p:cNvSpPr/>
          <p:nvPr/>
        </p:nvSpPr>
        <p:spPr>
          <a:xfrm>
            <a:off x="3371852" y="5478719"/>
            <a:ext cx="327482" cy="30930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6" name="TextBox 74">
            <a:extLst>
              <a:ext uri="{FF2B5EF4-FFF2-40B4-BE49-F238E27FC236}">
                <a16:creationId xmlns:a16="http://schemas.microsoft.com/office/drawing/2014/main" id="{2F30636C-B53B-47D8-9EB4-4058D9F9FA87}"/>
              </a:ext>
            </a:extLst>
          </p:cNvPr>
          <p:cNvSpPr txBox="1"/>
          <p:nvPr/>
        </p:nvSpPr>
        <p:spPr>
          <a:xfrm>
            <a:off x="3275397" y="5442246"/>
            <a:ext cx="45714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1</a:t>
            </a:r>
          </a:p>
        </p:txBody>
      </p:sp>
      <p:sp>
        <p:nvSpPr>
          <p:cNvPr id="108" name="TextBox 84">
            <a:extLst>
              <a:ext uri="{FF2B5EF4-FFF2-40B4-BE49-F238E27FC236}">
                <a16:creationId xmlns:a16="http://schemas.microsoft.com/office/drawing/2014/main" id="{C34F4A6B-68FF-4381-ABE5-7BF1EC897327}"/>
              </a:ext>
            </a:extLst>
          </p:cNvPr>
          <p:cNvSpPr txBox="1"/>
          <p:nvPr/>
        </p:nvSpPr>
        <p:spPr>
          <a:xfrm>
            <a:off x="3708135" y="5402089"/>
            <a:ext cx="23341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fficulties and future</a:t>
            </a:r>
          </a:p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ork</a:t>
            </a:r>
            <a:endParaRPr lang="en-IN" dirty="0">
              <a:solidFill>
                <a:schemeClr val="bg1">
                  <a:lumMod val="9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1" name="TextBox 74">
            <a:extLst>
              <a:ext uri="{FF2B5EF4-FFF2-40B4-BE49-F238E27FC236}">
                <a16:creationId xmlns:a16="http://schemas.microsoft.com/office/drawing/2014/main" id="{2F30636C-B53B-47D8-9EB4-4058D9F9FA87}"/>
              </a:ext>
            </a:extLst>
          </p:cNvPr>
          <p:cNvSpPr txBox="1"/>
          <p:nvPr/>
        </p:nvSpPr>
        <p:spPr>
          <a:xfrm>
            <a:off x="3346502" y="3401590"/>
            <a:ext cx="45714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660863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879566" y="1017933"/>
            <a:ext cx="279545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800" dirty="0">
                <a:solidFill>
                  <a:schemeClr val="bg1"/>
                </a:solidFill>
              </a:rPr>
              <a:t>Flask</a:t>
            </a:r>
          </a:p>
          <a:p>
            <a:endParaRPr lang="en-US" dirty="0"/>
          </a:p>
        </p:txBody>
      </p:sp>
      <p:sp>
        <p:nvSpPr>
          <p:cNvPr id="3" name="مربع نص 2"/>
          <p:cNvSpPr txBox="1"/>
          <p:nvPr/>
        </p:nvSpPr>
        <p:spPr>
          <a:xfrm>
            <a:off x="1079863" y="1818152"/>
            <a:ext cx="69668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Why is Flask a good web framework choice?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Flask REST API</a:t>
            </a:r>
          </a:p>
          <a:p>
            <a:endParaRPr lang="en-US" dirty="0"/>
          </a:p>
        </p:txBody>
      </p:sp>
      <p:pic>
        <p:nvPicPr>
          <p:cNvPr id="5" name="صورة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892" y="4739241"/>
            <a:ext cx="4032068" cy="2119864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6947561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879566" y="1017933"/>
            <a:ext cx="279545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2800" dirty="0" err="1">
                <a:solidFill>
                  <a:schemeClr val="bg1"/>
                </a:solidFill>
              </a:rPr>
              <a:t>Streamlit</a:t>
            </a:r>
            <a:endParaRPr lang="en-US" sz="28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sp>
        <p:nvSpPr>
          <p:cNvPr id="3" name="مربع نص 2"/>
          <p:cNvSpPr txBox="1"/>
          <p:nvPr/>
        </p:nvSpPr>
        <p:spPr>
          <a:xfrm>
            <a:off x="1079863" y="1818152"/>
            <a:ext cx="696685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What is </a:t>
            </a:r>
            <a:r>
              <a:rPr lang="en-US" sz="2400" dirty="0" err="1">
                <a:solidFill>
                  <a:schemeClr val="bg1"/>
                </a:solidFill>
              </a:rPr>
              <a:t>Streamlit</a:t>
            </a:r>
            <a:r>
              <a:rPr lang="en-US" sz="2400" dirty="0">
                <a:solidFill>
                  <a:schemeClr val="bg1"/>
                </a:solidFill>
              </a:rPr>
              <a:t>?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Why </a:t>
            </a:r>
            <a:r>
              <a:rPr lang="en-US" sz="2400" dirty="0" err="1">
                <a:solidFill>
                  <a:schemeClr val="bg1"/>
                </a:solidFill>
              </a:rPr>
              <a:t>Streamlit</a:t>
            </a:r>
            <a:r>
              <a:rPr lang="en-US" sz="2400" dirty="0">
                <a:solidFill>
                  <a:schemeClr val="bg1"/>
                </a:solidFill>
              </a:rPr>
              <a:t>?</a:t>
            </a:r>
          </a:p>
          <a:p>
            <a:endParaRPr lang="en-US" sz="32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deploy and share your</a:t>
            </a:r>
            <a:endParaRPr lang="en-US" dirty="0"/>
          </a:p>
        </p:txBody>
      </p:sp>
      <p:pic>
        <p:nvPicPr>
          <p:cNvPr id="5" name="صورة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383" y="4029680"/>
            <a:ext cx="3987573" cy="2439836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3100849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370658" y="269088"/>
            <a:ext cx="5078530" cy="1138773"/>
            <a:chOff x="980039" y="3130267"/>
            <a:chExt cx="5078530" cy="1362846"/>
          </a:xfrm>
        </p:grpSpPr>
        <p:sp>
          <p:nvSpPr>
            <p:cNvPr id="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62846"/>
              <a:chOff x="1505139" y="4207628"/>
              <a:chExt cx="5078530" cy="1362846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628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Implementation</a:t>
                </a:r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9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7" name="مربع نص 6"/>
          <p:cNvSpPr txBox="1"/>
          <p:nvPr/>
        </p:nvSpPr>
        <p:spPr>
          <a:xfrm>
            <a:off x="1227801" y="1114698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Model output</a:t>
            </a:r>
          </a:p>
        </p:txBody>
      </p:sp>
      <p:sp>
        <p:nvSpPr>
          <p:cNvPr id="8" name="مربع نص 7"/>
          <p:cNvSpPr txBox="1"/>
          <p:nvPr/>
        </p:nvSpPr>
        <p:spPr>
          <a:xfrm>
            <a:off x="1802674" y="1802674"/>
            <a:ext cx="42670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Inputs</a:t>
            </a:r>
          </a:p>
        </p:txBody>
      </p:sp>
      <p:pic>
        <p:nvPicPr>
          <p:cNvPr id="9" name="صورة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006" y="3871861"/>
            <a:ext cx="7132320" cy="239831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صورة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006" y="2421973"/>
            <a:ext cx="7062652" cy="1340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975806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1532708" y="278674"/>
            <a:ext cx="42670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Preprocessing Data</a:t>
            </a:r>
          </a:p>
        </p:txBody>
      </p:sp>
      <p:pic>
        <p:nvPicPr>
          <p:cNvPr id="3" name="صورة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20" y="1296930"/>
            <a:ext cx="8811168" cy="45813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336333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1532708" y="278674"/>
            <a:ext cx="42670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Output</a:t>
            </a:r>
          </a:p>
        </p:txBody>
      </p:sp>
      <p:pic>
        <p:nvPicPr>
          <p:cNvPr id="7" name="صورة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81" y="1501524"/>
            <a:ext cx="8324396" cy="21299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صورة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069" y="4545874"/>
            <a:ext cx="4149636" cy="2074818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42000252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1175549" y="296092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3" name="مربع نص 2"/>
          <p:cNvSpPr txBox="1"/>
          <p:nvPr/>
        </p:nvSpPr>
        <p:spPr>
          <a:xfrm>
            <a:off x="1750422" y="1053737"/>
            <a:ext cx="61308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Admin Dashboard and User interf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4" name="مربع نص 3"/>
          <p:cNvSpPr txBox="1"/>
          <p:nvPr/>
        </p:nvSpPr>
        <p:spPr>
          <a:xfrm>
            <a:off x="2299063" y="1950720"/>
            <a:ext cx="59653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1"/>
                </a:solidFill>
                <a:cs typeface="Arial" pitchFamily="34" charset="0"/>
              </a:rPr>
              <a:t>Used Techniques </a:t>
            </a:r>
          </a:p>
          <a:p>
            <a:endParaRPr lang="en-US" dirty="0"/>
          </a:p>
        </p:txBody>
      </p:sp>
      <p:pic>
        <p:nvPicPr>
          <p:cNvPr id="5" name="Picture Placeholder 5">
            <a:extLst>
              <a:ext uri="{FF2B5EF4-FFF2-40B4-BE49-F238E27FC236}">
                <a16:creationId xmlns:a16="http://schemas.microsoft.com/office/drawing/2014/main" id="{35DA9F84-2A97-4908-A974-63BD84F488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957" t="-46372" r="-31731" b="-33316"/>
          <a:stretch/>
        </p:blipFill>
        <p:spPr>
          <a:xfrm>
            <a:off x="6218172" y="2105153"/>
            <a:ext cx="2422209" cy="2519098"/>
          </a:xfrm>
          <a:custGeom>
            <a:avLst/>
            <a:gdLst>
              <a:gd name="connsiteX0" fmla="*/ 1550270 w 3100541"/>
              <a:gd name="connsiteY0" fmla="*/ 0 h 3100540"/>
              <a:gd name="connsiteX1" fmla="*/ 1677815 w 3100541"/>
              <a:gd name="connsiteY1" fmla="*/ 52831 h 3100540"/>
              <a:gd name="connsiteX2" fmla="*/ 3047710 w 3100541"/>
              <a:gd name="connsiteY2" fmla="*/ 1422726 h 3100540"/>
              <a:gd name="connsiteX3" fmla="*/ 3047710 w 3100541"/>
              <a:gd name="connsiteY3" fmla="*/ 1677816 h 3100540"/>
              <a:gd name="connsiteX4" fmla="*/ 1677817 w 3100541"/>
              <a:gd name="connsiteY4" fmla="*/ 3047710 h 3100540"/>
              <a:gd name="connsiteX5" fmla="*/ 1422727 w 3100541"/>
              <a:gd name="connsiteY5" fmla="*/ 3047710 h 3100540"/>
              <a:gd name="connsiteX6" fmla="*/ 52832 w 3100541"/>
              <a:gd name="connsiteY6" fmla="*/ 1677815 h 3100540"/>
              <a:gd name="connsiteX7" fmla="*/ 52832 w 3100541"/>
              <a:gd name="connsiteY7" fmla="*/ 1422724 h 3100540"/>
              <a:gd name="connsiteX8" fmla="*/ 1422725 w 3100541"/>
              <a:gd name="connsiteY8" fmla="*/ 52831 h 3100540"/>
              <a:gd name="connsiteX9" fmla="*/ 1550270 w 3100541"/>
              <a:gd name="connsiteY9" fmla="*/ 0 h 310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00541" h="3100540">
                <a:moveTo>
                  <a:pt x="1550270" y="0"/>
                </a:moveTo>
                <a:cubicBezTo>
                  <a:pt x="1596432" y="0"/>
                  <a:pt x="1642594" y="17610"/>
                  <a:pt x="1677815" y="52831"/>
                </a:cubicBezTo>
                <a:lnTo>
                  <a:pt x="3047710" y="1422726"/>
                </a:lnTo>
                <a:cubicBezTo>
                  <a:pt x="3118152" y="1493167"/>
                  <a:pt x="3118152" y="1607375"/>
                  <a:pt x="3047710" y="1677816"/>
                </a:cubicBezTo>
                <a:lnTo>
                  <a:pt x="1677817" y="3047710"/>
                </a:lnTo>
                <a:cubicBezTo>
                  <a:pt x="1607376" y="3118151"/>
                  <a:pt x="1493168" y="3118151"/>
                  <a:pt x="1422727" y="3047710"/>
                </a:cubicBezTo>
                <a:lnTo>
                  <a:pt x="52832" y="1677815"/>
                </a:lnTo>
                <a:cubicBezTo>
                  <a:pt x="-17610" y="1607373"/>
                  <a:pt x="-17610" y="1493166"/>
                  <a:pt x="52832" y="1422724"/>
                </a:cubicBezTo>
                <a:lnTo>
                  <a:pt x="1422725" y="52831"/>
                </a:lnTo>
                <a:cubicBezTo>
                  <a:pt x="1457946" y="17610"/>
                  <a:pt x="1504108" y="0"/>
                  <a:pt x="1550270" y="0"/>
                </a:cubicBezTo>
                <a:close/>
              </a:path>
            </a:pathLst>
          </a:custGeom>
        </p:spPr>
      </p:pic>
      <p:pic>
        <p:nvPicPr>
          <p:cNvPr id="6" name="صورة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717" y="2960914"/>
            <a:ext cx="1661518" cy="1669825"/>
          </a:xfrm>
          <a:prstGeom prst="rect">
            <a:avLst/>
          </a:prstGeom>
        </p:spPr>
      </p:pic>
      <p:pic>
        <p:nvPicPr>
          <p:cNvPr id="7" name="صورة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181" y="4624251"/>
            <a:ext cx="1790701" cy="1790701"/>
          </a:xfrm>
          <a:prstGeom prst="rect">
            <a:avLst/>
          </a:prstGeom>
        </p:spPr>
      </p:pic>
      <p:pic>
        <p:nvPicPr>
          <p:cNvPr id="8" name="صورة 7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1980" y="3968930"/>
            <a:ext cx="2192383" cy="219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2316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1436914" y="209006"/>
            <a:ext cx="53818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Integration of interfaces with backend and the model</a:t>
            </a:r>
          </a:p>
        </p:txBody>
      </p:sp>
      <p:sp>
        <p:nvSpPr>
          <p:cNvPr id="3" name="مربع نص 2"/>
          <p:cNvSpPr txBox="1"/>
          <p:nvPr/>
        </p:nvSpPr>
        <p:spPr>
          <a:xfrm>
            <a:off x="1436914" y="1724297"/>
            <a:ext cx="74545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chemeClr val="bg1"/>
                </a:solidFill>
                <a:cs typeface="Arial" pitchFamily="34" charset="0"/>
              </a:rPr>
              <a:t>We are going to use Laravel and </a:t>
            </a:r>
            <a:r>
              <a:rPr lang="en-US" altLang="ko-KR" sz="2400" dirty="0" err="1">
                <a:solidFill>
                  <a:schemeClr val="bg1"/>
                </a:solidFill>
                <a:cs typeface="Arial" pitchFamily="34" charset="0"/>
              </a:rPr>
              <a:t>streamlit</a:t>
            </a:r>
            <a:r>
              <a:rPr lang="en-US" altLang="ko-KR" sz="2400" dirty="0">
                <a:solidFill>
                  <a:schemeClr val="bg1"/>
                </a:solidFill>
                <a:cs typeface="Arial" pitchFamily="34" charset="0"/>
              </a:rPr>
              <a:t> to make Credit card fraud detection web page and we are going to use  Laravel and flask for backend</a:t>
            </a:r>
            <a:endParaRPr lang="ko-KR" altLang="en-US" sz="2400" dirty="0">
              <a:solidFill>
                <a:schemeClr val="bg1"/>
              </a:solidFill>
              <a:cs typeface="Arial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0321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585042" y="608722"/>
            <a:ext cx="5078530" cy="1323439"/>
            <a:chOff x="980039" y="3130267"/>
            <a:chExt cx="5078530" cy="1583848"/>
          </a:xfrm>
        </p:grpSpPr>
        <p:sp>
          <p:nvSpPr>
            <p:cNvPr id="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583848"/>
              <a:chOff x="1505139" y="4207628"/>
              <a:chExt cx="5078530" cy="1583848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5838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44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StreamLit</a:t>
                </a:r>
                <a:endParaRPr lang="en-IN" sz="44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10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5EB68696-0A2C-4157-91EC-DC5B4DF639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46722"/>
            <a:ext cx="9144000" cy="4751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4671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8D19F9D-0829-412F-9016-350F0D3F04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27200"/>
            <a:ext cx="9144000" cy="489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806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BBA86E5-58D2-4578-A78A-C934C2698C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8400"/>
            <a:ext cx="9144000" cy="544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864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صورة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212" y="3198951"/>
            <a:ext cx="4458790" cy="3569378"/>
          </a:xfrm>
          <a:prstGeom prst="rect">
            <a:avLst/>
          </a:prstGeom>
          <a:ln>
            <a:noFill/>
          </a:ln>
          <a:effectLst>
            <a:outerShdw blurRad="50800" dist="50800" dir="5400000" sx="91000" sy="91000" algn="ctr" rotWithShape="0">
              <a:srgbClr val="000000">
                <a:alpha val="15000"/>
              </a:srgbClr>
            </a:outerShdw>
            <a:softEdge rad="635000"/>
          </a:effectLst>
        </p:spPr>
      </p:pic>
      <p:grpSp>
        <p:nvGrpSpPr>
          <p:cNvPr id="3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192101" y="451968"/>
            <a:ext cx="5078530" cy="1159117"/>
            <a:chOff x="980039" y="3130267"/>
            <a:chExt cx="5078530" cy="1387193"/>
          </a:xfrm>
        </p:grpSpPr>
        <p:sp>
          <p:nvSpPr>
            <p:cNvPr id="4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87193"/>
              <a:chOff x="1505139" y="4207628"/>
              <a:chExt cx="5078530" cy="1387193"/>
            </a:xfrm>
          </p:grpSpPr>
          <p:sp>
            <p:nvSpPr>
              <p:cNvPr id="6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871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3200" dirty="0">
                    <a:solidFill>
                      <a:schemeClr val="bg1"/>
                    </a:solidFill>
                    <a:ea typeface="맑은 고딕" pitchFamily="50" charset="-127"/>
                  </a:rPr>
                  <a:t>Project idea and goals</a:t>
                </a: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7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601447" cy="7123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1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8" name="مربع نص 7"/>
          <p:cNvSpPr txBox="1"/>
          <p:nvPr/>
        </p:nvSpPr>
        <p:spPr>
          <a:xfrm>
            <a:off x="400594" y="1611085"/>
            <a:ext cx="5434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A website to monitor the transaction by the admin</a:t>
            </a:r>
          </a:p>
        </p:txBody>
      </p:sp>
      <p:sp>
        <p:nvSpPr>
          <p:cNvPr id="9" name="مربع نص 8"/>
          <p:cNvSpPr txBox="1"/>
          <p:nvPr/>
        </p:nvSpPr>
        <p:spPr>
          <a:xfrm>
            <a:off x="400592" y="2093245"/>
            <a:ext cx="5434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Detecting fraud in transactions</a:t>
            </a:r>
          </a:p>
        </p:txBody>
      </p:sp>
      <p:sp>
        <p:nvSpPr>
          <p:cNvPr id="10" name="مربع نص 9"/>
          <p:cNvSpPr txBox="1"/>
          <p:nvPr/>
        </p:nvSpPr>
        <p:spPr>
          <a:xfrm>
            <a:off x="400592" y="2637445"/>
            <a:ext cx="5434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Interface for user monitor of his transactions</a:t>
            </a:r>
          </a:p>
        </p:txBody>
      </p:sp>
      <p:sp>
        <p:nvSpPr>
          <p:cNvPr id="11" name="مربع نص 10"/>
          <p:cNvSpPr txBox="1"/>
          <p:nvPr/>
        </p:nvSpPr>
        <p:spPr>
          <a:xfrm>
            <a:off x="400592" y="3119605"/>
            <a:ext cx="5434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Send a notification to the user's e-mail in case of suspected fraud</a:t>
            </a:r>
          </a:p>
        </p:txBody>
      </p:sp>
    </p:spTree>
    <p:extLst>
      <p:ext uri="{BB962C8B-B14F-4D97-AF65-F5344CB8AC3E}">
        <p14:creationId xmlns:p14="http://schemas.microsoft.com/office/powerpoint/2010/main" val="17713987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903410-9F43-43DF-9696-9CCFCF687A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88160"/>
            <a:ext cx="9144000" cy="480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0877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370658" y="242962"/>
            <a:ext cx="5078530" cy="1819103"/>
            <a:chOff x="980039" y="3130267"/>
            <a:chExt cx="5078530" cy="2541524"/>
          </a:xfrm>
        </p:grpSpPr>
        <p:sp>
          <p:nvSpPr>
            <p:cNvPr id="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2541524"/>
              <a:chOff x="1505139" y="4207628"/>
              <a:chExt cx="5078530" cy="2541524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25415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Difficulties and future</a:t>
                </a:r>
              </a:p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work</a:t>
                </a:r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11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7" name="مربع نص 6"/>
          <p:cNvSpPr txBox="1"/>
          <p:nvPr/>
        </p:nvSpPr>
        <p:spPr>
          <a:xfrm>
            <a:off x="1227801" y="1600400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Difficulties</a:t>
            </a:r>
          </a:p>
        </p:txBody>
      </p:sp>
      <p:sp>
        <p:nvSpPr>
          <p:cNvPr id="8" name="مربع نص 7"/>
          <p:cNvSpPr txBox="1"/>
          <p:nvPr/>
        </p:nvSpPr>
        <p:spPr>
          <a:xfrm>
            <a:off x="1463039" y="2420983"/>
            <a:ext cx="685364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</a:rPr>
              <a:t>Standard dataset</a:t>
            </a:r>
          </a:p>
          <a:p>
            <a:endParaRPr lang="en-US" dirty="0"/>
          </a:p>
        </p:txBody>
      </p:sp>
      <p:sp>
        <p:nvSpPr>
          <p:cNvPr id="9" name="مربع نص 8"/>
          <p:cNvSpPr txBox="1"/>
          <p:nvPr/>
        </p:nvSpPr>
        <p:spPr>
          <a:xfrm>
            <a:off x="1463039" y="3129960"/>
            <a:ext cx="685364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</a:rPr>
              <a:t>Data balanc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1054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1227801" y="1114698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Future work</a:t>
            </a:r>
          </a:p>
        </p:txBody>
      </p:sp>
      <p:sp>
        <p:nvSpPr>
          <p:cNvPr id="3" name="مربع نص 2"/>
          <p:cNvSpPr txBox="1"/>
          <p:nvPr/>
        </p:nvSpPr>
        <p:spPr>
          <a:xfrm>
            <a:off x="1750423" y="2098766"/>
            <a:ext cx="42149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</a:rPr>
              <a:t>automatic</a:t>
            </a:r>
          </a:p>
          <a:p>
            <a:endParaRPr lang="en-US" dirty="0"/>
          </a:p>
        </p:txBody>
      </p:sp>
      <p:pic>
        <p:nvPicPr>
          <p:cNvPr id="4" name="صورة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685" y="2035628"/>
            <a:ext cx="5457371" cy="4604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492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مربع نص 1"/>
          <p:cNvSpPr txBox="1"/>
          <p:nvPr/>
        </p:nvSpPr>
        <p:spPr>
          <a:xfrm>
            <a:off x="853440" y="1480457"/>
            <a:ext cx="70713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</a:rPr>
              <a:t>Thank you      </a:t>
            </a:r>
          </a:p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</a:rPr>
              <a:t> for your attention</a:t>
            </a:r>
            <a:endParaRPr lang="ar-SY" sz="3600" b="1" dirty="0">
              <a:solidFill>
                <a:schemeClr val="bg1"/>
              </a:solidFill>
              <a:latin typeface="Bahnschrift" panose="020B0502040204020203" pitchFamily="34" charset="0"/>
            </a:endParaRPr>
          </a:p>
          <a:p>
            <a:endParaRPr lang="en-US" dirty="0"/>
          </a:p>
        </p:txBody>
      </p:sp>
      <p:pic>
        <p:nvPicPr>
          <p:cNvPr id="4" name="صورة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34" y="2808318"/>
            <a:ext cx="6975566" cy="3924323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2735885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7B0147E9-A6D9-49A9-A369-6580BE552C9C}"/>
              </a:ext>
            </a:extLst>
          </p:cNvPr>
          <p:cNvGrpSpPr/>
          <p:nvPr/>
        </p:nvGrpSpPr>
        <p:grpSpPr>
          <a:xfrm>
            <a:off x="666572" y="1672522"/>
            <a:ext cx="8222821" cy="3607064"/>
            <a:chOff x="1257644" y="1490819"/>
            <a:chExt cx="10600050" cy="4363265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7F71A299-D6A4-4117-9EEE-CB4887072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57644" y="1548784"/>
              <a:ext cx="4476750" cy="4305300"/>
            </a:xfrm>
            <a:prstGeom prst="rect">
              <a:avLst/>
            </a:prstGeom>
          </p:spPr>
        </p:pic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338A3B3-F3BD-46C1-8EA7-2F3070747924}"/>
                </a:ext>
              </a:extLst>
            </p:cNvPr>
            <p:cNvGrpSpPr/>
            <p:nvPr/>
          </p:nvGrpSpPr>
          <p:grpSpPr>
            <a:xfrm>
              <a:off x="7479124" y="1490819"/>
              <a:ext cx="4378570" cy="3919575"/>
              <a:chOff x="7479124" y="1606926"/>
              <a:chExt cx="4378570" cy="3919575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9153A4E-7D8A-4D66-BA26-39C0695F27A4}"/>
                  </a:ext>
                </a:extLst>
              </p:cNvPr>
              <p:cNvGrpSpPr/>
              <p:nvPr/>
            </p:nvGrpSpPr>
            <p:grpSpPr>
              <a:xfrm>
                <a:off x="7479124" y="1606926"/>
                <a:ext cx="3032238" cy="449262"/>
                <a:chOff x="7479124" y="1606926"/>
                <a:chExt cx="3032238" cy="449262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4FA0B69-798F-45CD-A70A-51B1001EDF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33776" y="2055723"/>
                  <a:ext cx="2950029" cy="0"/>
                </a:xfrm>
                <a:prstGeom prst="line">
                  <a:avLst/>
                </a:prstGeom>
                <a:ln>
                  <a:solidFill>
                    <a:srgbClr val="FF72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6933ADF5-7692-4AAF-9B3F-C68FF256E291}"/>
                    </a:ext>
                  </a:extLst>
                </p:cNvPr>
                <p:cNvSpPr txBox="1"/>
                <p:nvPr/>
              </p:nvSpPr>
              <p:spPr>
                <a:xfrm>
                  <a:off x="7932057" y="1609786"/>
                  <a:ext cx="2579305" cy="409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914378">
                    <a:spcBef>
                      <a:spcPct val="20000"/>
                    </a:spcBef>
                    <a:defRPr/>
                  </a:pPr>
                  <a:r>
                    <a:rPr lang="en-US" sz="1600" b="1" dirty="0">
                      <a:solidFill>
                        <a:schemeClr val="bg1"/>
                      </a:solidFill>
                    </a:rPr>
                    <a:t>A. Shen etal (2007) </a:t>
                  </a:r>
                  <a:endParaRPr lang="en-US" sz="1600" b="1" dirty="0">
                    <a:solidFill>
                      <a:schemeClr val="bg1"/>
                    </a:solidFill>
                    <a:latin typeface="Georgia" panose="02040502050405020303" pitchFamily="18" charset="0"/>
                  </a:endParaRPr>
                </a:p>
              </p:txBody>
            </p:sp>
            <p:sp>
              <p:nvSpPr>
                <p:cNvPr id="19" name="Rectangle: Single Corner Snipped 18">
                  <a:extLst>
                    <a:ext uri="{FF2B5EF4-FFF2-40B4-BE49-F238E27FC236}">
                      <a16:creationId xmlns:a16="http://schemas.microsoft.com/office/drawing/2014/main" id="{8A9C4FB1-CBB5-446D-8916-102CB7590A22}"/>
                    </a:ext>
                  </a:extLst>
                </p:cNvPr>
                <p:cNvSpPr/>
                <p:nvPr/>
              </p:nvSpPr>
              <p:spPr>
                <a:xfrm>
                  <a:off x="7533776" y="1606926"/>
                  <a:ext cx="448797" cy="448797"/>
                </a:xfrm>
                <a:prstGeom prst="snip1Rect">
                  <a:avLst/>
                </a:prstGeom>
                <a:solidFill>
                  <a:srgbClr val="FF725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 sz="1350" b="1" dirty="0">
                    <a:solidFill>
                      <a:schemeClr val="tx1"/>
                    </a:solidFill>
                    <a:latin typeface="Georgia Pro Cond" panose="02040506050405020303" pitchFamily="18" charset="0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B3DDE50B-C053-4C4B-B6C2-26928B1897D8}"/>
                    </a:ext>
                  </a:extLst>
                </p:cNvPr>
                <p:cNvSpPr txBox="1"/>
                <p:nvPr/>
              </p:nvSpPr>
              <p:spPr>
                <a:xfrm>
                  <a:off x="7479124" y="1646658"/>
                  <a:ext cx="549723" cy="409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  <a:latin typeface="Georgia Pro Cond" panose="02040506050405020303" pitchFamily="18" charset="0"/>
                    </a:rPr>
                    <a:t>01</a:t>
                  </a:r>
                  <a:endParaRPr lang="en-IN" sz="16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D4BE8378-F0DE-4C99-B10C-3BBBCED173B0}"/>
                  </a:ext>
                </a:extLst>
              </p:cNvPr>
              <p:cNvGrpSpPr/>
              <p:nvPr/>
            </p:nvGrpSpPr>
            <p:grpSpPr>
              <a:xfrm>
                <a:off x="7488242" y="3342082"/>
                <a:ext cx="3244748" cy="449262"/>
                <a:chOff x="7488242" y="3342083"/>
                <a:chExt cx="3244748" cy="449262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BED63909-A8F1-4661-BD65-A12FAFD14D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33776" y="3790880"/>
                  <a:ext cx="2950029" cy="0"/>
                </a:xfrm>
                <a:prstGeom prst="line">
                  <a:avLst/>
                </a:prstGeom>
                <a:ln>
                  <a:solidFill>
                    <a:srgbClr val="455A6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BB82263D-2D56-45E1-8F60-31F0CE78CE3C}"/>
                    </a:ext>
                  </a:extLst>
                </p:cNvPr>
                <p:cNvSpPr txBox="1"/>
                <p:nvPr/>
              </p:nvSpPr>
              <p:spPr>
                <a:xfrm>
                  <a:off x="7970763" y="3364924"/>
                  <a:ext cx="2762227" cy="409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914378">
                    <a:spcBef>
                      <a:spcPct val="20000"/>
                    </a:spcBef>
                    <a:defRPr/>
                  </a:pPr>
                  <a:r>
                    <a:rPr lang="fr-FR" sz="1600" b="1" dirty="0">
                      <a:solidFill>
                        <a:schemeClr val="bg1"/>
                      </a:solidFill>
                    </a:rPr>
                    <a:t>M.J. Islam et al (2007)</a:t>
                  </a:r>
                  <a:endParaRPr lang="en-US" sz="1600" b="1" dirty="0">
                    <a:solidFill>
                      <a:schemeClr val="bg1"/>
                    </a:solidFill>
                    <a:latin typeface="Georgia" panose="02040502050405020303" pitchFamily="18" charset="0"/>
                  </a:endParaRPr>
                </a:p>
              </p:txBody>
            </p:sp>
            <p:sp>
              <p:nvSpPr>
                <p:cNvPr id="25" name="Rectangle: Single Corner Snipped 24">
                  <a:extLst>
                    <a:ext uri="{FF2B5EF4-FFF2-40B4-BE49-F238E27FC236}">
                      <a16:creationId xmlns:a16="http://schemas.microsoft.com/office/drawing/2014/main" id="{570CA6C8-A555-4EE8-A23D-27325992A146}"/>
                    </a:ext>
                  </a:extLst>
                </p:cNvPr>
                <p:cNvSpPr/>
                <p:nvPr/>
              </p:nvSpPr>
              <p:spPr>
                <a:xfrm>
                  <a:off x="7533776" y="3342083"/>
                  <a:ext cx="448797" cy="448797"/>
                </a:xfrm>
                <a:prstGeom prst="snip1Rect">
                  <a:avLst/>
                </a:prstGeom>
                <a:solidFill>
                  <a:srgbClr val="455A6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 sz="1350" b="1" dirty="0">
                    <a:solidFill>
                      <a:schemeClr val="tx1"/>
                    </a:solidFill>
                    <a:latin typeface="Georgia Pro Cond" panose="02040506050405020303" pitchFamily="18" charset="0"/>
                  </a:endParaRP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31A2B05C-BD62-42B4-8F35-7B33C00666EB}"/>
                    </a:ext>
                  </a:extLst>
                </p:cNvPr>
                <p:cNvSpPr txBox="1"/>
                <p:nvPr/>
              </p:nvSpPr>
              <p:spPr>
                <a:xfrm>
                  <a:off x="7488242" y="3381815"/>
                  <a:ext cx="531486" cy="409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  <a:latin typeface="Georgia Pro Cond" panose="02040506050405020303" pitchFamily="18" charset="0"/>
                    </a:rPr>
                    <a:t>02</a:t>
                  </a:r>
                  <a:endParaRPr lang="en-IN" sz="16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9F84EA6C-426E-42DC-A622-38389F83F9A3}"/>
                  </a:ext>
                </a:extLst>
              </p:cNvPr>
              <p:cNvGrpSpPr/>
              <p:nvPr/>
            </p:nvGrpSpPr>
            <p:grpSpPr>
              <a:xfrm>
                <a:off x="7488242" y="5077239"/>
                <a:ext cx="4369452" cy="449262"/>
                <a:chOff x="7488242" y="5077239"/>
                <a:chExt cx="4369452" cy="449262"/>
              </a:xfrm>
            </p:grpSpPr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BFDF6DF8-7C47-4BB1-87FD-50BB2101C5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33776" y="5526036"/>
                  <a:ext cx="2950029" cy="0"/>
                </a:xfrm>
                <a:prstGeom prst="line">
                  <a:avLst/>
                </a:prstGeom>
                <a:ln>
                  <a:solidFill>
                    <a:srgbClr val="FF72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66AD3612-BD99-451E-BA5F-40841FD7CCDA}"/>
                    </a:ext>
                  </a:extLst>
                </p:cNvPr>
                <p:cNvSpPr txBox="1"/>
                <p:nvPr/>
              </p:nvSpPr>
              <p:spPr>
                <a:xfrm>
                  <a:off x="8028847" y="5100077"/>
                  <a:ext cx="3828847" cy="409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914378">
                    <a:spcBef>
                      <a:spcPct val="20000"/>
                    </a:spcBef>
                    <a:defRPr/>
                  </a:pPr>
                  <a:r>
                    <a:rPr lang="en-US" sz="1600" b="1" dirty="0">
                      <a:solidFill>
                        <a:schemeClr val="bg1"/>
                      </a:solidFill>
                    </a:rPr>
                    <a:t>Y. Sahin and E. Duman (2011)</a:t>
                  </a:r>
                  <a:endParaRPr lang="en-US" sz="1600" b="1" dirty="0">
                    <a:solidFill>
                      <a:schemeClr val="bg1"/>
                    </a:solidFill>
                    <a:latin typeface="Georgia" panose="02040502050405020303" pitchFamily="18" charset="0"/>
                  </a:endParaRPr>
                </a:p>
              </p:txBody>
            </p:sp>
            <p:sp>
              <p:nvSpPr>
                <p:cNvPr id="31" name="Rectangle: Single Corner Snipped 30">
                  <a:extLst>
                    <a:ext uri="{FF2B5EF4-FFF2-40B4-BE49-F238E27FC236}">
                      <a16:creationId xmlns:a16="http://schemas.microsoft.com/office/drawing/2014/main" id="{E07918FD-E312-4F61-A99A-5FA50F09058F}"/>
                    </a:ext>
                  </a:extLst>
                </p:cNvPr>
                <p:cNvSpPr/>
                <p:nvPr/>
              </p:nvSpPr>
              <p:spPr>
                <a:xfrm>
                  <a:off x="7533776" y="5077239"/>
                  <a:ext cx="448797" cy="448797"/>
                </a:xfrm>
                <a:prstGeom prst="snip1Rect">
                  <a:avLst/>
                </a:prstGeom>
                <a:solidFill>
                  <a:srgbClr val="FF725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 sz="1350" b="1" dirty="0">
                    <a:solidFill>
                      <a:schemeClr val="tx1"/>
                    </a:solidFill>
                    <a:latin typeface="Georgia Pro Cond" panose="02040506050405020303" pitchFamily="18" charset="0"/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45CF0706-5F27-4CFD-A270-B49C5C8269C7}"/>
                    </a:ext>
                  </a:extLst>
                </p:cNvPr>
                <p:cNvSpPr txBox="1"/>
                <p:nvPr/>
              </p:nvSpPr>
              <p:spPr>
                <a:xfrm>
                  <a:off x="7488242" y="5116971"/>
                  <a:ext cx="531486" cy="409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  <a:latin typeface="Georgia Pro Cond" panose="02040506050405020303" pitchFamily="18" charset="0"/>
                    </a:rPr>
                    <a:t>03</a:t>
                  </a:r>
                  <a:endParaRPr lang="en-IN" sz="1600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4ADC24E-E60E-4035-876F-125969AAEC42}"/>
              </a:ext>
            </a:extLst>
          </p:cNvPr>
          <p:cNvGrpSpPr/>
          <p:nvPr/>
        </p:nvGrpSpPr>
        <p:grpSpPr>
          <a:xfrm>
            <a:off x="0" y="5926717"/>
            <a:ext cx="9144000" cy="82296"/>
            <a:chOff x="0" y="6762420"/>
            <a:chExt cx="12192000" cy="10972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E4915D4-9FBB-424D-8009-CACD52A9727E}"/>
                </a:ext>
              </a:extLst>
            </p:cNvPr>
            <p:cNvSpPr/>
            <p:nvPr/>
          </p:nvSpPr>
          <p:spPr>
            <a:xfrm>
              <a:off x="0" y="6762420"/>
              <a:ext cx="2660073" cy="109728"/>
            </a:xfrm>
            <a:prstGeom prst="rect">
              <a:avLst/>
            </a:prstGeom>
            <a:solidFill>
              <a:srgbClr val="FF72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EB7D5C5-9AC5-4874-8456-CFD09E3002A3}"/>
                </a:ext>
              </a:extLst>
            </p:cNvPr>
            <p:cNvSpPr/>
            <p:nvPr/>
          </p:nvSpPr>
          <p:spPr>
            <a:xfrm>
              <a:off x="2801947" y="6762856"/>
              <a:ext cx="6588105" cy="108857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1501C80-CAA7-4A54-BF30-25D77D1AB3E9}"/>
                </a:ext>
              </a:extLst>
            </p:cNvPr>
            <p:cNvSpPr/>
            <p:nvPr/>
          </p:nvSpPr>
          <p:spPr>
            <a:xfrm>
              <a:off x="9531927" y="6762420"/>
              <a:ext cx="2660073" cy="109728"/>
            </a:xfrm>
            <a:prstGeom prst="rect">
              <a:avLst/>
            </a:prstGeom>
            <a:solidFill>
              <a:srgbClr val="FF72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4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370658" y="269088"/>
            <a:ext cx="5078530" cy="1159117"/>
            <a:chOff x="980039" y="3130267"/>
            <a:chExt cx="5078530" cy="1387193"/>
          </a:xfrm>
        </p:grpSpPr>
        <p:sp>
          <p:nvSpPr>
            <p:cNvPr id="4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87193"/>
              <a:chOff x="1505139" y="4207628"/>
              <a:chExt cx="5078530" cy="1387193"/>
            </a:xfrm>
          </p:grpSpPr>
          <p:sp>
            <p:nvSpPr>
              <p:cNvPr id="4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871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3200" dirty="0">
                    <a:solidFill>
                      <a:schemeClr val="bg1"/>
                    </a:solidFill>
                    <a:ea typeface="맑은 고딕" pitchFamily="50" charset="-127"/>
                  </a:rPr>
                  <a:t>Related works</a:t>
                </a: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4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2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1972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59582091-B9FA-4870-9CDD-8A67B77D2B23}"/>
              </a:ext>
            </a:extLst>
          </p:cNvPr>
          <p:cNvSpPr/>
          <p:nvPr/>
        </p:nvSpPr>
        <p:spPr>
          <a:xfrm>
            <a:off x="8801100" y="5591175"/>
            <a:ext cx="342900" cy="40957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E780EE8-14C2-4C71-A113-A0A80CF26285}"/>
              </a:ext>
            </a:extLst>
          </p:cNvPr>
          <p:cNvGrpSpPr/>
          <p:nvPr/>
        </p:nvGrpSpPr>
        <p:grpSpPr>
          <a:xfrm>
            <a:off x="4118233" y="1697868"/>
            <a:ext cx="913363" cy="68580"/>
            <a:chOff x="6575457" y="1351721"/>
            <a:chExt cx="1217817" cy="9144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07EF550-3738-449B-850A-0F69E07F7ECD}"/>
                </a:ext>
              </a:extLst>
            </p:cNvPr>
            <p:cNvSpPr/>
            <p:nvPr/>
          </p:nvSpPr>
          <p:spPr>
            <a:xfrm flipV="1">
              <a:off x="6575457" y="1351721"/>
              <a:ext cx="91440" cy="9144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DF5E167-3A6A-4EC7-88AB-D170A492490C}"/>
                </a:ext>
              </a:extLst>
            </p:cNvPr>
            <p:cNvSpPr/>
            <p:nvPr/>
          </p:nvSpPr>
          <p:spPr>
            <a:xfrm flipV="1">
              <a:off x="6736368" y="1351721"/>
              <a:ext cx="91440" cy="9144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40F9581-2292-4FC5-BF10-46BA8F7832F5}"/>
                </a:ext>
              </a:extLst>
            </p:cNvPr>
            <p:cNvSpPr/>
            <p:nvPr/>
          </p:nvSpPr>
          <p:spPr>
            <a:xfrm flipV="1">
              <a:off x="6897279" y="1351721"/>
              <a:ext cx="91440" cy="91440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7ADBD93-4073-4D96-AB8A-5A747595D6E2}"/>
                </a:ext>
              </a:extLst>
            </p:cNvPr>
            <p:cNvSpPr/>
            <p:nvPr/>
          </p:nvSpPr>
          <p:spPr>
            <a:xfrm flipV="1">
              <a:off x="7058190" y="1351721"/>
              <a:ext cx="91440" cy="9144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E2D86FA-FE95-49CD-807F-E91BE297C00D}"/>
                </a:ext>
              </a:extLst>
            </p:cNvPr>
            <p:cNvSpPr/>
            <p:nvPr/>
          </p:nvSpPr>
          <p:spPr>
            <a:xfrm flipV="1">
              <a:off x="7219101" y="1351721"/>
              <a:ext cx="91440" cy="9144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F640249-48D3-444F-8416-7F78B80DCB72}"/>
                </a:ext>
              </a:extLst>
            </p:cNvPr>
            <p:cNvSpPr/>
            <p:nvPr/>
          </p:nvSpPr>
          <p:spPr>
            <a:xfrm flipV="1">
              <a:off x="7380012" y="1351721"/>
              <a:ext cx="91440" cy="9144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14DB15B-92D2-42DB-8D42-ACDE7E83F1B1}"/>
                </a:ext>
              </a:extLst>
            </p:cNvPr>
            <p:cNvSpPr/>
            <p:nvPr/>
          </p:nvSpPr>
          <p:spPr>
            <a:xfrm flipV="1">
              <a:off x="7540923" y="1351721"/>
              <a:ext cx="91440" cy="9144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8914A8A-8627-4DDA-A8B0-D0A3D2E55DB0}"/>
                </a:ext>
              </a:extLst>
            </p:cNvPr>
            <p:cNvSpPr/>
            <p:nvPr/>
          </p:nvSpPr>
          <p:spPr>
            <a:xfrm flipV="1">
              <a:off x="7701834" y="1351721"/>
              <a:ext cx="91440" cy="9144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FEFCA12-8287-4E7D-A644-5698BFCBE874}"/>
              </a:ext>
            </a:extLst>
          </p:cNvPr>
          <p:cNvGrpSpPr/>
          <p:nvPr/>
        </p:nvGrpSpPr>
        <p:grpSpPr>
          <a:xfrm>
            <a:off x="226421" y="2919283"/>
            <a:ext cx="8914999" cy="2463135"/>
            <a:chOff x="450406" y="2122359"/>
            <a:chExt cx="11886666" cy="3284180"/>
          </a:xfrm>
        </p:grpSpPr>
        <p:sp>
          <p:nvSpPr>
            <p:cNvPr id="5" name="Freeform 20">
              <a:extLst>
                <a:ext uri="{FF2B5EF4-FFF2-40B4-BE49-F238E27FC236}">
                  <a16:creationId xmlns:a16="http://schemas.microsoft.com/office/drawing/2014/main" id="{F664BB27-4585-4425-AA19-CC7694FB2E11}"/>
                </a:ext>
              </a:extLst>
            </p:cNvPr>
            <p:cNvSpPr/>
            <p:nvPr/>
          </p:nvSpPr>
          <p:spPr>
            <a:xfrm>
              <a:off x="3378295" y="2235473"/>
              <a:ext cx="3122813" cy="1675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9" extrusionOk="0">
                  <a:moveTo>
                    <a:pt x="17942" y="0"/>
                  </a:moveTo>
                  <a:cubicBezTo>
                    <a:pt x="18542" y="0"/>
                    <a:pt x="19960" y="127"/>
                    <a:pt x="21369" y="302"/>
                  </a:cubicBezTo>
                  <a:lnTo>
                    <a:pt x="21600" y="333"/>
                  </a:lnTo>
                  <a:lnTo>
                    <a:pt x="21579" y="464"/>
                  </a:lnTo>
                  <a:cubicBezTo>
                    <a:pt x="11914" y="-875"/>
                    <a:pt x="13118" y="19416"/>
                    <a:pt x="4965" y="20558"/>
                  </a:cubicBezTo>
                  <a:cubicBezTo>
                    <a:pt x="3768" y="20725"/>
                    <a:pt x="2591" y="20357"/>
                    <a:pt x="1459" y="19977"/>
                  </a:cubicBezTo>
                  <a:lnTo>
                    <a:pt x="266" y="19472"/>
                  </a:lnTo>
                  <a:lnTo>
                    <a:pt x="0" y="19229"/>
                  </a:lnTo>
                  <a:lnTo>
                    <a:pt x="25" y="19067"/>
                  </a:lnTo>
                  <a:lnTo>
                    <a:pt x="795" y="19226"/>
                  </a:lnTo>
                  <a:cubicBezTo>
                    <a:pt x="11037" y="20721"/>
                    <a:pt x="9202" y="1195"/>
                    <a:pt x="17942" y="0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6" name="Freeform 21">
              <a:extLst>
                <a:ext uri="{FF2B5EF4-FFF2-40B4-BE49-F238E27FC236}">
                  <a16:creationId xmlns:a16="http://schemas.microsoft.com/office/drawing/2014/main" id="{346C8728-60B7-48E3-B71E-3F11ABCCFAD1}"/>
                </a:ext>
              </a:extLst>
            </p:cNvPr>
            <p:cNvSpPr/>
            <p:nvPr/>
          </p:nvSpPr>
          <p:spPr>
            <a:xfrm>
              <a:off x="3381946" y="2157056"/>
              <a:ext cx="3123123" cy="1656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98" extrusionOk="0">
                  <a:moveTo>
                    <a:pt x="16616" y="0"/>
                  </a:moveTo>
                  <a:cubicBezTo>
                    <a:pt x="17817" y="0"/>
                    <a:pt x="18990" y="199"/>
                    <a:pt x="20122" y="576"/>
                  </a:cubicBezTo>
                  <a:lnTo>
                    <a:pt x="21600" y="1196"/>
                  </a:lnTo>
                  <a:lnTo>
                    <a:pt x="21573" y="1370"/>
                  </a:lnTo>
                  <a:lnTo>
                    <a:pt x="21342" y="1340"/>
                  </a:lnTo>
                  <a:cubicBezTo>
                    <a:pt x="19933" y="1166"/>
                    <a:pt x="18515" y="1040"/>
                    <a:pt x="17915" y="1040"/>
                  </a:cubicBezTo>
                  <a:cubicBezTo>
                    <a:pt x="9176" y="2226"/>
                    <a:pt x="11010" y="21600"/>
                    <a:pt x="770" y="20117"/>
                  </a:cubicBezTo>
                  <a:lnTo>
                    <a:pt x="0" y="19960"/>
                  </a:lnTo>
                  <a:lnTo>
                    <a:pt x="3" y="19938"/>
                  </a:lnTo>
                  <a:cubicBezTo>
                    <a:pt x="8800" y="19993"/>
                    <a:pt x="8811" y="0"/>
                    <a:pt x="16616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7" name="Freeform 23">
              <a:extLst>
                <a:ext uri="{FF2B5EF4-FFF2-40B4-BE49-F238E27FC236}">
                  <a16:creationId xmlns:a16="http://schemas.microsoft.com/office/drawing/2014/main" id="{56BEDABA-C03E-4935-AD4C-2AEFC4975BB6}"/>
                </a:ext>
              </a:extLst>
            </p:cNvPr>
            <p:cNvSpPr/>
            <p:nvPr/>
          </p:nvSpPr>
          <p:spPr>
            <a:xfrm>
              <a:off x="5825790" y="2235473"/>
              <a:ext cx="3122813" cy="1675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9" extrusionOk="0">
                  <a:moveTo>
                    <a:pt x="17942" y="0"/>
                  </a:moveTo>
                  <a:cubicBezTo>
                    <a:pt x="18542" y="0"/>
                    <a:pt x="19960" y="127"/>
                    <a:pt x="21369" y="302"/>
                  </a:cubicBezTo>
                  <a:lnTo>
                    <a:pt x="21600" y="333"/>
                  </a:lnTo>
                  <a:lnTo>
                    <a:pt x="21579" y="464"/>
                  </a:lnTo>
                  <a:cubicBezTo>
                    <a:pt x="11914" y="-875"/>
                    <a:pt x="13118" y="19416"/>
                    <a:pt x="4965" y="20558"/>
                  </a:cubicBezTo>
                  <a:cubicBezTo>
                    <a:pt x="3768" y="20725"/>
                    <a:pt x="2591" y="20357"/>
                    <a:pt x="1459" y="19977"/>
                  </a:cubicBezTo>
                  <a:lnTo>
                    <a:pt x="266" y="19472"/>
                  </a:lnTo>
                  <a:lnTo>
                    <a:pt x="0" y="19229"/>
                  </a:lnTo>
                  <a:lnTo>
                    <a:pt x="25" y="19067"/>
                  </a:lnTo>
                  <a:lnTo>
                    <a:pt x="795" y="19226"/>
                  </a:lnTo>
                  <a:cubicBezTo>
                    <a:pt x="11037" y="20721"/>
                    <a:pt x="9202" y="1195"/>
                    <a:pt x="17942" y="0"/>
                  </a:cubicBezTo>
                  <a:close/>
                </a:path>
              </a:pathLst>
            </a:cu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 dirty="0"/>
            </a:p>
          </p:txBody>
        </p:sp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A24D3406-F273-4F4E-AECB-CDA54CC73A6F}"/>
                </a:ext>
              </a:extLst>
            </p:cNvPr>
            <p:cNvSpPr/>
            <p:nvPr/>
          </p:nvSpPr>
          <p:spPr>
            <a:xfrm>
              <a:off x="5829440" y="2157056"/>
              <a:ext cx="3123123" cy="1656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98" extrusionOk="0">
                  <a:moveTo>
                    <a:pt x="16616" y="0"/>
                  </a:moveTo>
                  <a:cubicBezTo>
                    <a:pt x="17817" y="0"/>
                    <a:pt x="18990" y="199"/>
                    <a:pt x="20122" y="576"/>
                  </a:cubicBezTo>
                  <a:lnTo>
                    <a:pt x="21600" y="1196"/>
                  </a:lnTo>
                  <a:lnTo>
                    <a:pt x="21573" y="1370"/>
                  </a:lnTo>
                  <a:lnTo>
                    <a:pt x="21342" y="1340"/>
                  </a:lnTo>
                  <a:cubicBezTo>
                    <a:pt x="19933" y="1166"/>
                    <a:pt x="18515" y="1040"/>
                    <a:pt x="17915" y="1040"/>
                  </a:cubicBezTo>
                  <a:cubicBezTo>
                    <a:pt x="9176" y="2226"/>
                    <a:pt x="11010" y="21600"/>
                    <a:pt x="770" y="20117"/>
                  </a:cubicBezTo>
                  <a:lnTo>
                    <a:pt x="0" y="19960"/>
                  </a:lnTo>
                  <a:lnTo>
                    <a:pt x="3" y="19938"/>
                  </a:lnTo>
                  <a:cubicBezTo>
                    <a:pt x="8800" y="19993"/>
                    <a:pt x="8811" y="0"/>
                    <a:pt x="16616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EF322A28-3195-4766-85A7-EEF2AF2076DE}"/>
                </a:ext>
              </a:extLst>
            </p:cNvPr>
            <p:cNvSpPr/>
            <p:nvPr/>
          </p:nvSpPr>
          <p:spPr>
            <a:xfrm>
              <a:off x="984848" y="2218644"/>
              <a:ext cx="3122813" cy="16758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9" extrusionOk="0">
                  <a:moveTo>
                    <a:pt x="17942" y="0"/>
                  </a:moveTo>
                  <a:cubicBezTo>
                    <a:pt x="18542" y="0"/>
                    <a:pt x="19960" y="127"/>
                    <a:pt x="21369" y="302"/>
                  </a:cubicBezTo>
                  <a:lnTo>
                    <a:pt x="21600" y="333"/>
                  </a:lnTo>
                  <a:lnTo>
                    <a:pt x="21579" y="464"/>
                  </a:lnTo>
                  <a:cubicBezTo>
                    <a:pt x="11914" y="-875"/>
                    <a:pt x="13118" y="19416"/>
                    <a:pt x="4965" y="20558"/>
                  </a:cubicBezTo>
                  <a:cubicBezTo>
                    <a:pt x="3768" y="20725"/>
                    <a:pt x="2591" y="20357"/>
                    <a:pt x="1459" y="19977"/>
                  </a:cubicBezTo>
                  <a:lnTo>
                    <a:pt x="266" y="19472"/>
                  </a:lnTo>
                  <a:lnTo>
                    <a:pt x="0" y="19229"/>
                  </a:lnTo>
                  <a:lnTo>
                    <a:pt x="25" y="19067"/>
                  </a:lnTo>
                  <a:lnTo>
                    <a:pt x="795" y="19226"/>
                  </a:lnTo>
                  <a:cubicBezTo>
                    <a:pt x="11037" y="20721"/>
                    <a:pt x="9202" y="1195"/>
                    <a:pt x="1794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EB1A2EF6-89D6-432D-ACE9-5B25DFB40634}"/>
                </a:ext>
              </a:extLst>
            </p:cNvPr>
            <p:cNvSpPr/>
            <p:nvPr/>
          </p:nvSpPr>
          <p:spPr>
            <a:xfrm>
              <a:off x="988498" y="2140227"/>
              <a:ext cx="3123123" cy="1656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98" extrusionOk="0">
                  <a:moveTo>
                    <a:pt x="16616" y="0"/>
                  </a:moveTo>
                  <a:cubicBezTo>
                    <a:pt x="17817" y="0"/>
                    <a:pt x="18990" y="199"/>
                    <a:pt x="20122" y="576"/>
                  </a:cubicBezTo>
                  <a:lnTo>
                    <a:pt x="21600" y="1196"/>
                  </a:lnTo>
                  <a:lnTo>
                    <a:pt x="21573" y="1370"/>
                  </a:lnTo>
                  <a:lnTo>
                    <a:pt x="21342" y="1340"/>
                  </a:lnTo>
                  <a:cubicBezTo>
                    <a:pt x="19933" y="1166"/>
                    <a:pt x="18515" y="1040"/>
                    <a:pt x="17915" y="1040"/>
                  </a:cubicBezTo>
                  <a:cubicBezTo>
                    <a:pt x="9176" y="2226"/>
                    <a:pt x="11010" y="21600"/>
                    <a:pt x="770" y="20117"/>
                  </a:cubicBezTo>
                  <a:lnTo>
                    <a:pt x="0" y="19960"/>
                  </a:lnTo>
                  <a:lnTo>
                    <a:pt x="3" y="19938"/>
                  </a:lnTo>
                  <a:cubicBezTo>
                    <a:pt x="8800" y="19993"/>
                    <a:pt x="8811" y="0"/>
                    <a:pt x="1661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89000"/>
                  </a:schemeClr>
                </a:gs>
                <a:gs pos="23000">
                  <a:schemeClr val="accent1">
                    <a:lumMod val="89000"/>
                  </a:schemeClr>
                </a:gs>
                <a:gs pos="69000">
                  <a:schemeClr val="accent1">
                    <a:lumMod val="75000"/>
                  </a:schemeClr>
                </a:gs>
                <a:gs pos="97000">
                  <a:schemeClr val="accent1">
                    <a:lumMod val="7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11" name="Circle">
              <a:extLst>
                <a:ext uri="{FF2B5EF4-FFF2-40B4-BE49-F238E27FC236}">
                  <a16:creationId xmlns:a16="http://schemas.microsoft.com/office/drawing/2014/main" id="{60CC0DCB-BE9C-4549-AB05-23BF543874D1}"/>
                </a:ext>
              </a:extLst>
            </p:cNvPr>
            <p:cNvSpPr/>
            <p:nvPr/>
          </p:nvSpPr>
          <p:spPr>
            <a:xfrm>
              <a:off x="450406" y="2122359"/>
              <a:ext cx="1761134" cy="1761134"/>
            </a:xfrm>
            <a:prstGeom prst="ellipse">
              <a:avLst/>
            </a:prstGeom>
            <a:gradFill>
              <a:gsLst>
                <a:gs pos="22846">
                  <a:srgbClr val="FFFFFF"/>
                </a:gs>
                <a:gs pos="63322">
                  <a:srgbClr val="E6EAEB"/>
                </a:gs>
                <a:gs pos="99960">
                  <a:srgbClr val="CDD5D8"/>
                </a:gs>
              </a:gsLst>
              <a:lin ang="2089255"/>
            </a:gradFill>
            <a:ln w="50800">
              <a:solidFill>
                <a:schemeClr val="accent1"/>
              </a:solidFill>
              <a:miter/>
            </a:ln>
            <a:effectLst>
              <a:outerShdw blurRad="152400" dist="90035" dir="2315233" rotWithShape="0">
                <a:srgbClr val="000000">
                  <a:alpha val="38297"/>
                </a:srgbClr>
              </a:outerShdw>
            </a:effectLst>
          </p:spPr>
          <p:txBody>
            <a:bodyPr lIns="34289" rIns="34289" anchor="ctr"/>
            <a:lstStyle/>
            <a:p>
              <a:endParaRPr sz="1350" dirty="0"/>
            </a:p>
          </p:txBody>
        </p:sp>
        <p:sp>
          <p:nvSpPr>
            <p:cNvPr id="12" name="Oval 4">
              <a:extLst>
                <a:ext uri="{FF2B5EF4-FFF2-40B4-BE49-F238E27FC236}">
                  <a16:creationId xmlns:a16="http://schemas.microsoft.com/office/drawing/2014/main" id="{302E4CBD-1C24-431A-B375-F6B7B655D3E7}"/>
                </a:ext>
              </a:extLst>
            </p:cNvPr>
            <p:cNvSpPr/>
            <p:nvPr/>
          </p:nvSpPr>
          <p:spPr>
            <a:xfrm>
              <a:off x="2914970" y="2139478"/>
              <a:ext cx="1761134" cy="1761134"/>
            </a:xfrm>
            <a:prstGeom prst="ellipse">
              <a:avLst/>
            </a:prstGeom>
            <a:gradFill>
              <a:gsLst>
                <a:gs pos="22846">
                  <a:srgbClr val="FFFFFF"/>
                </a:gs>
                <a:gs pos="63322">
                  <a:srgbClr val="E6EAEB"/>
                </a:gs>
                <a:gs pos="99960">
                  <a:srgbClr val="CDD5D8"/>
                </a:gs>
              </a:gsLst>
              <a:lin ang="2089255"/>
            </a:gradFill>
            <a:ln w="50800">
              <a:solidFill>
                <a:schemeClr val="accent2"/>
              </a:solidFill>
              <a:miter/>
            </a:ln>
            <a:effectLst>
              <a:outerShdw blurRad="152400" dist="90035" dir="2315233" rotWithShape="0">
                <a:srgbClr val="000000">
                  <a:alpha val="38297"/>
                </a:srgbClr>
              </a:outerShdw>
            </a:effectLst>
          </p:spPr>
          <p:txBody>
            <a:bodyPr lIns="34289" rIns="34289" anchor="ctr"/>
            <a:lstStyle/>
            <a:p>
              <a:endParaRPr sz="1350"/>
            </a:p>
          </p:txBody>
        </p:sp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8BA57000-ADA9-43DF-B4DA-4C438D39F08D}"/>
                </a:ext>
              </a:extLst>
            </p:cNvPr>
            <p:cNvSpPr/>
            <p:nvPr/>
          </p:nvSpPr>
          <p:spPr>
            <a:xfrm>
              <a:off x="5400575" y="2131099"/>
              <a:ext cx="1761134" cy="1761134"/>
            </a:xfrm>
            <a:prstGeom prst="ellipse">
              <a:avLst/>
            </a:prstGeom>
            <a:gradFill>
              <a:gsLst>
                <a:gs pos="22846">
                  <a:srgbClr val="FFFFFF"/>
                </a:gs>
                <a:gs pos="63322">
                  <a:srgbClr val="E6EAEB"/>
                </a:gs>
                <a:gs pos="99960">
                  <a:srgbClr val="CDD5D8"/>
                </a:gs>
              </a:gsLst>
              <a:lin ang="2089255"/>
            </a:gradFill>
            <a:ln w="50800">
              <a:solidFill>
                <a:schemeClr val="accent6"/>
              </a:solidFill>
              <a:miter/>
            </a:ln>
            <a:effectLst>
              <a:outerShdw blurRad="152400" dist="90035" dir="2315233" rotWithShape="0">
                <a:srgbClr val="000000">
                  <a:alpha val="38297"/>
                </a:srgbClr>
              </a:outerShdw>
            </a:effectLst>
          </p:spPr>
          <p:txBody>
            <a:bodyPr lIns="34289" rIns="34289" anchor="ctr"/>
            <a:lstStyle/>
            <a:p>
              <a:endParaRPr sz="1350"/>
            </a:p>
          </p:txBody>
        </p:sp>
        <p:sp>
          <p:nvSpPr>
            <p:cNvPr id="15" name="TextBox 52">
              <a:extLst>
                <a:ext uri="{FF2B5EF4-FFF2-40B4-BE49-F238E27FC236}">
                  <a16:creationId xmlns:a16="http://schemas.microsoft.com/office/drawing/2014/main" id="{F0498755-929C-4DD3-9515-3340B075FBD9}"/>
                </a:ext>
              </a:extLst>
            </p:cNvPr>
            <p:cNvSpPr txBox="1"/>
            <p:nvPr/>
          </p:nvSpPr>
          <p:spPr>
            <a:xfrm>
              <a:off x="745687" y="3090111"/>
              <a:ext cx="1170571" cy="4001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rIns="34289">
              <a:spAutoFit/>
            </a:bodyPr>
            <a:lstStyle>
              <a:lvl1pPr>
                <a:defRPr>
                  <a:solidFill>
                    <a:srgbClr val="535353"/>
                  </a:solidFill>
                </a:defRPr>
              </a:lvl1pPr>
            </a:lstStyle>
            <a:p>
              <a:pPr algn="ctr"/>
              <a:r>
                <a:rPr lang="en-US" sz="13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eorgia Pro Cond" panose="02040506050405020303" pitchFamily="18" charset="0"/>
                  <a:ea typeface="Cambria" panose="02040503050406030204" pitchFamily="18" charset="0"/>
                </a:rPr>
                <a:t>Title 1</a:t>
              </a:r>
              <a:endParaRPr sz="135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Cond" panose="02040506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6" name="TextBox 34">
              <a:extLst>
                <a:ext uri="{FF2B5EF4-FFF2-40B4-BE49-F238E27FC236}">
                  <a16:creationId xmlns:a16="http://schemas.microsoft.com/office/drawing/2014/main" id="{B3EC0478-1DD7-41B6-B59A-3C34A72F302E}"/>
                </a:ext>
              </a:extLst>
            </p:cNvPr>
            <p:cNvSpPr txBox="1"/>
            <p:nvPr/>
          </p:nvSpPr>
          <p:spPr>
            <a:xfrm>
              <a:off x="1006442" y="2321966"/>
              <a:ext cx="649061" cy="7078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tIns="34289" rIns="34289" bIns="34289">
              <a:spAutoFit/>
            </a:bodyPr>
            <a:lstStyle>
              <a:lvl1pPr>
                <a:defRPr sz="4000">
                  <a:solidFill>
                    <a:srgbClr val="535353"/>
                  </a:solidFill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ctr"/>
              <a:r>
                <a:rPr lang="en-US" sz="3000" dirty="0">
                  <a:latin typeface="Georgia" panose="02040502050405020303" pitchFamily="18" charset="0"/>
                  <a:ea typeface="Cambria" panose="02040503050406030204" pitchFamily="18" charset="0"/>
                </a:rPr>
                <a:t>1</a:t>
              </a:r>
              <a:endParaRPr sz="30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7" name="TextBox 52">
              <a:extLst>
                <a:ext uri="{FF2B5EF4-FFF2-40B4-BE49-F238E27FC236}">
                  <a16:creationId xmlns:a16="http://schemas.microsoft.com/office/drawing/2014/main" id="{A9A59B22-D17D-4220-9351-1FB4FEF83A4E}"/>
                </a:ext>
              </a:extLst>
            </p:cNvPr>
            <p:cNvSpPr txBox="1"/>
            <p:nvPr/>
          </p:nvSpPr>
          <p:spPr>
            <a:xfrm>
              <a:off x="3210251" y="3103064"/>
              <a:ext cx="1170571" cy="4001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rIns="34289">
              <a:spAutoFit/>
            </a:bodyPr>
            <a:lstStyle>
              <a:lvl1pPr>
                <a:defRPr>
                  <a:solidFill>
                    <a:srgbClr val="535353"/>
                  </a:solidFill>
                </a:defRPr>
              </a:lvl1pPr>
            </a:lstStyle>
            <a:p>
              <a:pPr algn="ctr"/>
              <a:r>
                <a:rPr lang="en-US" sz="13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eorgia Pro Cond" panose="02040506050405020303" pitchFamily="18" charset="0"/>
                  <a:ea typeface="Cambria" panose="02040503050406030204" pitchFamily="18" charset="0"/>
                </a:rPr>
                <a:t>Title 2</a:t>
              </a:r>
              <a:endParaRPr sz="135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Cond" panose="02040506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8" name="TextBox 34">
              <a:extLst>
                <a:ext uri="{FF2B5EF4-FFF2-40B4-BE49-F238E27FC236}">
                  <a16:creationId xmlns:a16="http://schemas.microsoft.com/office/drawing/2014/main" id="{AB8C6FE1-3434-48DF-9066-DB771284901C}"/>
                </a:ext>
              </a:extLst>
            </p:cNvPr>
            <p:cNvSpPr txBox="1"/>
            <p:nvPr/>
          </p:nvSpPr>
          <p:spPr>
            <a:xfrm>
              <a:off x="3471007" y="2334919"/>
              <a:ext cx="649061" cy="7078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tIns="34289" rIns="34289" bIns="34289">
              <a:spAutoFit/>
            </a:bodyPr>
            <a:lstStyle>
              <a:lvl1pPr>
                <a:defRPr sz="4000">
                  <a:solidFill>
                    <a:srgbClr val="535353"/>
                  </a:solidFill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ctr"/>
              <a:r>
                <a:rPr lang="en-US" sz="3000" dirty="0">
                  <a:latin typeface="Georgia" panose="02040502050405020303" pitchFamily="18" charset="0"/>
                  <a:ea typeface="Cambria" panose="02040503050406030204" pitchFamily="18" charset="0"/>
                </a:rPr>
                <a:t>2</a:t>
              </a:r>
              <a:endParaRPr sz="30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9" name="TextBox 52">
              <a:extLst>
                <a:ext uri="{FF2B5EF4-FFF2-40B4-BE49-F238E27FC236}">
                  <a16:creationId xmlns:a16="http://schemas.microsoft.com/office/drawing/2014/main" id="{68B5D3DD-0524-48A7-B9B8-B95B88785915}"/>
                </a:ext>
              </a:extLst>
            </p:cNvPr>
            <p:cNvSpPr txBox="1"/>
            <p:nvPr/>
          </p:nvSpPr>
          <p:spPr>
            <a:xfrm>
              <a:off x="5686735" y="3125180"/>
              <a:ext cx="1170571" cy="4001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rIns="34289">
              <a:spAutoFit/>
            </a:bodyPr>
            <a:lstStyle>
              <a:lvl1pPr>
                <a:defRPr>
                  <a:solidFill>
                    <a:srgbClr val="535353"/>
                  </a:solidFill>
                </a:defRPr>
              </a:lvl1pPr>
            </a:lstStyle>
            <a:p>
              <a:pPr algn="ctr"/>
              <a:r>
                <a:rPr lang="en-US" sz="13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eorgia Pro Cond" panose="02040506050405020303" pitchFamily="18" charset="0"/>
                  <a:ea typeface="Cambria" panose="02040503050406030204" pitchFamily="18" charset="0"/>
                </a:rPr>
                <a:t>Title 3</a:t>
              </a:r>
              <a:endParaRPr sz="135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Cond" panose="02040506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0" name="TextBox 34">
              <a:extLst>
                <a:ext uri="{FF2B5EF4-FFF2-40B4-BE49-F238E27FC236}">
                  <a16:creationId xmlns:a16="http://schemas.microsoft.com/office/drawing/2014/main" id="{43C5FE51-5D9D-4B52-98A6-DB93067BC7BE}"/>
                </a:ext>
              </a:extLst>
            </p:cNvPr>
            <p:cNvSpPr txBox="1"/>
            <p:nvPr/>
          </p:nvSpPr>
          <p:spPr>
            <a:xfrm>
              <a:off x="5947491" y="2357034"/>
              <a:ext cx="649061" cy="7078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tIns="34289" rIns="34289" bIns="34289">
              <a:spAutoFit/>
            </a:bodyPr>
            <a:lstStyle>
              <a:lvl1pPr>
                <a:defRPr sz="4000">
                  <a:solidFill>
                    <a:srgbClr val="535353"/>
                  </a:solidFill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ctr"/>
              <a:r>
                <a:rPr lang="en-US" sz="3000" dirty="0">
                  <a:latin typeface="Georgia" panose="02040502050405020303" pitchFamily="18" charset="0"/>
                  <a:ea typeface="Cambria" panose="02040503050406030204" pitchFamily="18" charset="0"/>
                </a:rPr>
                <a:t>3</a:t>
              </a:r>
              <a:endParaRPr sz="30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90B8599-8F30-49B1-AAB9-C58F0CB8748B}"/>
                </a:ext>
              </a:extLst>
            </p:cNvPr>
            <p:cNvSpPr/>
            <p:nvPr/>
          </p:nvSpPr>
          <p:spPr>
            <a:xfrm>
              <a:off x="540249" y="4298543"/>
              <a:ext cx="1582035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dirty="0">
                  <a:latin typeface="Georgia Pro Light" panose="02040302050405020303" pitchFamily="18" charset="0"/>
                </a:rPr>
                <a:t>Get Data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8504240-14F4-4FF5-869B-786AE903027E}"/>
                </a:ext>
              </a:extLst>
            </p:cNvPr>
            <p:cNvSpPr/>
            <p:nvPr/>
          </p:nvSpPr>
          <p:spPr>
            <a:xfrm>
              <a:off x="2721807" y="4298543"/>
              <a:ext cx="2217895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600" dirty="0">
                  <a:latin typeface="Georgia Pro Light" panose="02040302050405020303" pitchFamily="18" charset="0"/>
                </a:rPr>
                <a:t>Clean, prepare</a:t>
              </a:r>
            </a:p>
            <a:p>
              <a:pPr lvl="0" algn="ctr"/>
              <a:r>
                <a:rPr lang="en-US" sz="1600" dirty="0">
                  <a:latin typeface="Georgia Pro Light" panose="02040302050405020303" pitchFamily="18" charset="0"/>
                </a:rPr>
                <a:t>&amp; manipulated data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1301D47-F01D-4908-87D3-913B23DDFF6D}"/>
                </a:ext>
              </a:extLst>
            </p:cNvPr>
            <p:cNvSpPr/>
            <p:nvPr/>
          </p:nvSpPr>
          <p:spPr>
            <a:xfrm>
              <a:off x="5280763" y="4298543"/>
              <a:ext cx="1941016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dirty="0">
                  <a:latin typeface="Georgia Pro Light" panose="02040302050405020303" pitchFamily="18" charset="0"/>
                </a:rPr>
                <a:t>Train model</a:t>
              </a:r>
            </a:p>
          </p:txBody>
        </p:sp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D2B66579-2BED-4905-9FCF-841CF52F52EF}"/>
                </a:ext>
              </a:extLst>
            </p:cNvPr>
            <p:cNvSpPr/>
            <p:nvPr/>
          </p:nvSpPr>
          <p:spPr>
            <a:xfrm>
              <a:off x="8296956" y="2235473"/>
              <a:ext cx="3122813" cy="1675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9" extrusionOk="0">
                  <a:moveTo>
                    <a:pt x="17942" y="0"/>
                  </a:moveTo>
                  <a:cubicBezTo>
                    <a:pt x="18542" y="0"/>
                    <a:pt x="19960" y="127"/>
                    <a:pt x="21369" y="302"/>
                  </a:cubicBezTo>
                  <a:lnTo>
                    <a:pt x="21600" y="333"/>
                  </a:lnTo>
                  <a:lnTo>
                    <a:pt x="21579" y="464"/>
                  </a:lnTo>
                  <a:cubicBezTo>
                    <a:pt x="11914" y="-875"/>
                    <a:pt x="13118" y="19416"/>
                    <a:pt x="4965" y="20558"/>
                  </a:cubicBezTo>
                  <a:cubicBezTo>
                    <a:pt x="3768" y="20725"/>
                    <a:pt x="2591" y="20357"/>
                    <a:pt x="1459" y="19977"/>
                  </a:cubicBezTo>
                  <a:lnTo>
                    <a:pt x="266" y="19472"/>
                  </a:lnTo>
                  <a:lnTo>
                    <a:pt x="0" y="19229"/>
                  </a:lnTo>
                  <a:lnTo>
                    <a:pt x="25" y="19067"/>
                  </a:lnTo>
                  <a:lnTo>
                    <a:pt x="795" y="19226"/>
                  </a:lnTo>
                  <a:cubicBezTo>
                    <a:pt x="11037" y="20721"/>
                    <a:pt x="9202" y="1195"/>
                    <a:pt x="17942" y="0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 dirty="0"/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5CCF2F29-5CD3-411A-96A8-F5F5693D3AA8}"/>
                </a:ext>
              </a:extLst>
            </p:cNvPr>
            <p:cNvSpPr/>
            <p:nvPr/>
          </p:nvSpPr>
          <p:spPr>
            <a:xfrm>
              <a:off x="8300606" y="2157056"/>
              <a:ext cx="3123123" cy="1656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98" extrusionOk="0">
                  <a:moveTo>
                    <a:pt x="16616" y="0"/>
                  </a:moveTo>
                  <a:cubicBezTo>
                    <a:pt x="17817" y="0"/>
                    <a:pt x="18990" y="199"/>
                    <a:pt x="20122" y="576"/>
                  </a:cubicBezTo>
                  <a:lnTo>
                    <a:pt x="21600" y="1196"/>
                  </a:lnTo>
                  <a:lnTo>
                    <a:pt x="21573" y="1370"/>
                  </a:lnTo>
                  <a:lnTo>
                    <a:pt x="21342" y="1340"/>
                  </a:lnTo>
                  <a:cubicBezTo>
                    <a:pt x="19933" y="1166"/>
                    <a:pt x="18515" y="1040"/>
                    <a:pt x="17915" y="1040"/>
                  </a:cubicBezTo>
                  <a:cubicBezTo>
                    <a:pt x="9176" y="2226"/>
                    <a:pt x="11010" y="21600"/>
                    <a:pt x="770" y="20117"/>
                  </a:cubicBezTo>
                  <a:lnTo>
                    <a:pt x="0" y="19960"/>
                  </a:lnTo>
                  <a:lnTo>
                    <a:pt x="3" y="19938"/>
                  </a:lnTo>
                  <a:cubicBezTo>
                    <a:pt x="8800" y="19993"/>
                    <a:pt x="8811" y="0"/>
                    <a:pt x="16616" y="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34289" tIns="34289" rIns="34289" bIns="34289" numCol="1" anchor="ctr">
              <a:noAutofit/>
            </a:bodyPr>
            <a:lstStyle/>
            <a:p>
              <a:endParaRPr sz="1350"/>
            </a:p>
          </p:txBody>
        </p:sp>
        <p:sp>
          <p:nvSpPr>
            <p:cNvPr id="41" name="Oval 5">
              <a:extLst>
                <a:ext uri="{FF2B5EF4-FFF2-40B4-BE49-F238E27FC236}">
                  <a16:creationId xmlns:a16="http://schemas.microsoft.com/office/drawing/2014/main" id="{2D0247DB-4A7C-4B1F-B253-C54E858437C1}"/>
                </a:ext>
              </a:extLst>
            </p:cNvPr>
            <p:cNvSpPr/>
            <p:nvPr/>
          </p:nvSpPr>
          <p:spPr>
            <a:xfrm>
              <a:off x="7871741" y="2131099"/>
              <a:ext cx="1761134" cy="1761134"/>
            </a:xfrm>
            <a:prstGeom prst="ellipse">
              <a:avLst/>
            </a:prstGeom>
            <a:gradFill>
              <a:gsLst>
                <a:gs pos="22846">
                  <a:srgbClr val="FFFFFF"/>
                </a:gs>
                <a:gs pos="63322">
                  <a:srgbClr val="E6EAEB"/>
                </a:gs>
                <a:gs pos="99960">
                  <a:srgbClr val="CDD5D8"/>
                </a:gs>
              </a:gsLst>
              <a:lin ang="2089255"/>
            </a:gradFill>
            <a:ln w="50800">
              <a:solidFill>
                <a:schemeClr val="accent3"/>
              </a:solidFill>
              <a:miter/>
            </a:ln>
            <a:effectLst>
              <a:outerShdw blurRad="152400" dist="90035" dir="2315233" rotWithShape="0">
                <a:srgbClr val="000000">
                  <a:alpha val="38297"/>
                </a:srgbClr>
              </a:outerShdw>
            </a:effectLst>
          </p:spPr>
          <p:txBody>
            <a:bodyPr lIns="34289" rIns="34289" anchor="ctr"/>
            <a:lstStyle/>
            <a:p>
              <a:endParaRPr sz="1350"/>
            </a:p>
          </p:txBody>
        </p:sp>
        <p:sp>
          <p:nvSpPr>
            <p:cNvPr id="42" name="TextBox 52">
              <a:extLst>
                <a:ext uri="{FF2B5EF4-FFF2-40B4-BE49-F238E27FC236}">
                  <a16:creationId xmlns:a16="http://schemas.microsoft.com/office/drawing/2014/main" id="{6F94362B-C14A-405C-A6F4-E14286D8B6BD}"/>
                </a:ext>
              </a:extLst>
            </p:cNvPr>
            <p:cNvSpPr txBox="1"/>
            <p:nvPr/>
          </p:nvSpPr>
          <p:spPr>
            <a:xfrm>
              <a:off x="8157902" y="3125180"/>
              <a:ext cx="1170571" cy="4001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rIns="34289">
              <a:spAutoFit/>
            </a:bodyPr>
            <a:lstStyle>
              <a:lvl1pPr>
                <a:defRPr>
                  <a:solidFill>
                    <a:srgbClr val="535353"/>
                  </a:solidFill>
                </a:defRPr>
              </a:lvl1pPr>
            </a:lstStyle>
            <a:p>
              <a:pPr algn="ctr"/>
              <a:r>
                <a:rPr lang="en-US" sz="13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eorgia Pro Cond" panose="02040506050405020303" pitchFamily="18" charset="0"/>
                  <a:ea typeface="Cambria" panose="02040503050406030204" pitchFamily="18" charset="0"/>
                </a:rPr>
                <a:t>Title 4</a:t>
              </a:r>
              <a:endParaRPr sz="135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Cond" panose="02040506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43" name="TextBox 34">
              <a:extLst>
                <a:ext uri="{FF2B5EF4-FFF2-40B4-BE49-F238E27FC236}">
                  <a16:creationId xmlns:a16="http://schemas.microsoft.com/office/drawing/2014/main" id="{B9986605-5A55-41BE-A851-087D508DF69F}"/>
                </a:ext>
              </a:extLst>
            </p:cNvPr>
            <p:cNvSpPr txBox="1"/>
            <p:nvPr/>
          </p:nvSpPr>
          <p:spPr>
            <a:xfrm>
              <a:off x="8418657" y="2357034"/>
              <a:ext cx="649061" cy="7078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tIns="34289" rIns="34289" bIns="34289">
              <a:spAutoFit/>
            </a:bodyPr>
            <a:lstStyle>
              <a:lvl1pPr>
                <a:defRPr sz="4000">
                  <a:solidFill>
                    <a:srgbClr val="535353"/>
                  </a:solidFill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ctr"/>
              <a:r>
                <a:rPr lang="en-US" sz="3000" dirty="0">
                  <a:latin typeface="Georgia" panose="02040502050405020303" pitchFamily="18" charset="0"/>
                  <a:ea typeface="Cambria" panose="02040503050406030204" pitchFamily="18" charset="0"/>
                </a:rPr>
                <a:t>4</a:t>
              </a:r>
              <a:endParaRPr sz="30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0EBA0B0-D715-4DC7-A783-031A2F4C49D5}"/>
                </a:ext>
              </a:extLst>
            </p:cNvPr>
            <p:cNvSpPr/>
            <p:nvPr/>
          </p:nvSpPr>
          <p:spPr>
            <a:xfrm>
              <a:off x="7961582" y="4298543"/>
              <a:ext cx="178958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dirty="0">
                  <a:latin typeface="Georgia Pro Light" panose="02040302050405020303" pitchFamily="18" charset="0"/>
                </a:rPr>
                <a:t>Test model</a:t>
              </a:r>
            </a:p>
          </p:txBody>
        </p:sp>
        <p:sp>
          <p:nvSpPr>
            <p:cNvPr id="45" name="Oval 6">
              <a:extLst>
                <a:ext uri="{FF2B5EF4-FFF2-40B4-BE49-F238E27FC236}">
                  <a16:creationId xmlns:a16="http://schemas.microsoft.com/office/drawing/2014/main" id="{7B3F71F2-B49F-4FD9-B1FD-E08E8DFD5679}"/>
                </a:ext>
              </a:extLst>
            </p:cNvPr>
            <p:cNvSpPr/>
            <p:nvPr/>
          </p:nvSpPr>
          <p:spPr>
            <a:xfrm>
              <a:off x="10304991" y="2122359"/>
              <a:ext cx="1761134" cy="1761134"/>
            </a:xfrm>
            <a:prstGeom prst="ellipse">
              <a:avLst/>
            </a:prstGeom>
            <a:gradFill>
              <a:gsLst>
                <a:gs pos="22846">
                  <a:srgbClr val="FFFFFF"/>
                </a:gs>
                <a:gs pos="63322">
                  <a:srgbClr val="E6EAEB"/>
                </a:gs>
                <a:gs pos="99960">
                  <a:srgbClr val="CDD5D8"/>
                </a:gs>
              </a:gsLst>
              <a:lin ang="2089255"/>
            </a:gradFill>
            <a:ln w="50800">
              <a:solidFill>
                <a:schemeClr val="accent4">
                  <a:lumMod val="75000"/>
                </a:schemeClr>
              </a:solidFill>
              <a:miter/>
            </a:ln>
            <a:effectLst>
              <a:outerShdw blurRad="152400" dist="90035" dir="2315233" rotWithShape="0">
                <a:srgbClr val="000000">
                  <a:alpha val="38297"/>
                </a:srgbClr>
              </a:outerShdw>
            </a:effectLst>
          </p:spPr>
          <p:txBody>
            <a:bodyPr lIns="34289" rIns="34289" anchor="ctr"/>
            <a:lstStyle/>
            <a:p>
              <a:endParaRPr sz="1350"/>
            </a:p>
          </p:txBody>
        </p:sp>
        <p:sp>
          <p:nvSpPr>
            <p:cNvPr id="46" name="TextBox 52">
              <a:extLst>
                <a:ext uri="{FF2B5EF4-FFF2-40B4-BE49-F238E27FC236}">
                  <a16:creationId xmlns:a16="http://schemas.microsoft.com/office/drawing/2014/main" id="{E96CB46A-F40C-4A9C-9B5A-CAEB613B0991}"/>
                </a:ext>
              </a:extLst>
            </p:cNvPr>
            <p:cNvSpPr txBox="1"/>
            <p:nvPr/>
          </p:nvSpPr>
          <p:spPr>
            <a:xfrm>
              <a:off x="10600272" y="3128910"/>
              <a:ext cx="1170571" cy="40010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rIns="34289">
              <a:spAutoFit/>
            </a:bodyPr>
            <a:lstStyle>
              <a:lvl1pPr>
                <a:defRPr>
                  <a:solidFill>
                    <a:srgbClr val="535353"/>
                  </a:solidFill>
                </a:defRPr>
              </a:lvl1pPr>
            </a:lstStyle>
            <a:p>
              <a:pPr algn="ctr"/>
              <a:r>
                <a:rPr lang="en-US" sz="135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eorgia Pro Cond" panose="02040506050405020303" pitchFamily="18" charset="0"/>
                  <a:ea typeface="Cambria" panose="02040503050406030204" pitchFamily="18" charset="0"/>
                </a:rPr>
                <a:t>Title 5</a:t>
              </a:r>
              <a:endParaRPr sz="135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 Pro Cond" panose="02040506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47" name="TextBox 34">
              <a:extLst>
                <a:ext uri="{FF2B5EF4-FFF2-40B4-BE49-F238E27FC236}">
                  <a16:creationId xmlns:a16="http://schemas.microsoft.com/office/drawing/2014/main" id="{FAABFCEB-3657-4FBF-8BA4-5FB04DA76F6F}"/>
                </a:ext>
              </a:extLst>
            </p:cNvPr>
            <p:cNvSpPr txBox="1"/>
            <p:nvPr/>
          </p:nvSpPr>
          <p:spPr>
            <a:xfrm>
              <a:off x="10861028" y="2360766"/>
              <a:ext cx="649061" cy="7078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34289" tIns="34289" rIns="34289" bIns="34289">
              <a:spAutoFit/>
            </a:bodyPr>
            <a:lstStyle>
              <a:lvl1pPr>
                <a:defRPr sz="4000">
                  <a:solidFill>
                    <a:srgbClr val="535353"/>
                  </a:solidFill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ctr"/>
              <a:r>
                <a:rPr lang="en-US" sz="3000" dirty="0">
                  <a:latin typeface="Georgia" panose="02040502050405020303" pitchFamily="18" charset="0"/>
                  <a:ea typeface="Cambria" panose="02040503050406030204" pitchFamily="18" charset="0"/>
                </a:rPr>
                <a:t>5</a:t>
              </a:r>
              <a:endParaRPr sz="30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A7D66CB-FFF1-46DD-987A-F23F9E532425}"/>
                </a:ext>
              </a:extLst>
            </p:cNvPr>
            <p:cNvSpPr/>
            <p:nvPr/>
          </p:nvSpPr>
          <p:spPr>
            <a:xfrm>
              <a:off x="10111952" y="4298543"/>
              <a:ext cx="222512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dirty="0">
                  <a:latin typeface="Georgia Pro Light" panose="02040302050405020303" pitchFamily="18" charset="0"/>
                </a:rPr>
                <a:t>Generalization</a:t>
              </a:r>
            </a:p>
          </p:txBody>
        </p:sp>
      </p:grpSp>
      <p:grpSp>
        <p:nvGrpSpPr>
          <p:cNvPr id="49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226421" y="204949"/>
            <a:ext cx="5078530" cy="1159117"/>
            <a:chOff x="980039" y="3130267"/>
            <a:chExt cx="5078530" cy="1387193"/>
          </a:xfrm>
        </p:grpSpPr>
        <p:sp>
          <p:nvSpPr>
            <p:cNvPr id="50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51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87193"/>
              <a:chOff x="1505139" y="4207628"/>
              <a:chExt cx="5078530" cy="1387193"/>
            </a:xfrm>
          </p:grpSpPr>
          <p:sp>
            <p:nvSpPr>
              <p:cNvPr id="52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871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3200" dirty="0">
                    <a:solidFill>
                      <a:schemeClr val="bg1"/>
                    </a:solidFill>
                    <a:ea typeface="맑은 고딕" pitchFamily="50" charset="-127"/>
                  </a:rPr>
                  <a:t>Machine learning</a:t>
                </a: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53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3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9843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CC07C61-5211-449F-B5D4-A14AAFD72913}"/>
              </a:ext>
            </a:extLst>
          </p:cNvPr>
          <p:cNvGrpSpPr/>
          <p:nvPr/>
        </p:nvGrpSpPr>
        <p:grpSpPr>
          <a:xfrm>
            <a:off x="444137" y="1976846"/>
            <a:ext cx="8203475" cy="4007625"/>
            <a:chOff x="1282302" y="1508736"/>
            <a:chExt cx="9136156" cy="495200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38A2E111-E36B-4D2D-89DD-B00DA4000D8B}"/>
                </a:ext>
              </a:extLst>
            </p:cNvPr>
            <p:cNvSpPr>
              <a:spLocks/>
            </p:cNvSpPr>
            <p:nvPr/>
          </p:nvSpPr>
          <p:spPr bwMode="auto">
            <a:xfrm rot="701861">
              <a:off x="2726509" y="2890606"/>
              <a:ext cx="2262530" cy="2262530"/>
            </a:xfrm>
            <a:custGeom>
              <a:avLst/>
              <a:gdLst>
                <a:gd name="T0" fmla="*/ 2143 w 2143"/>
                <a:gd name="T1" fmla="*/ 406 h 2143"/>
                <a:gd name="T2" fmla="*/ 406 w 2143"/>
                <a:gd name="T3" fmla="*/ 2143 h 2143"/>
                <a:gd name="T4" fmla="*/ 0 w 2143"/>
                <a:gd name="T5" fmla="*/ 1738 h 2143"/>
                <a:gd name="T6" fmla="*/ 1738 w 2143"/>
                <a:gd name="T7" fmla="*/ 0 h 2143"/>
                <a:gd name="T8" fmla="*/ 2091 w 2143"/>
                <a:gd name="T9" fmla="*/ 52 h 2143"/>
                <a:gd name="T10" fmla="*/ 2143 w 2143"/>
                <a:gd name="T11" fmla="*/ 406 h 2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43" h="2143">
                  <a:moveTo>
                    <a:pt x="2143" y="406"/>
                  </a:moveTo>
                  <a:lnTo>
                    <a:pt x="406" y="2143"/>
                  </a:lnTo>
                  <a:lnTo>
                    <a:pt x="0" y="1738"/>
                  </a:lnTo>
                  <a:lnTo>
                    <a:pt x="1738" y="0"/>
                  </a:lnTo>
                  <a:lnTo>
                    <a:pt x="2091" y="52"/>
                  </a:lnTo>
                  <a:lnTo>
                    <a:pt x="2143" y="4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722" tIns="30861" rIns="61722" bIns="30861" numCol="1" anchor="t" anchorCtr="0" compatLnSpc="1">
              <a:prstTxWarp prst="textNoShape">
                <a:avLst/>
              </a:prstTxWarp>
            </a:bodyPr>
            <a:lstStyle/>
            <a:p>
              <a:endParaRPr lang="en-US" sz="94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809FD64-1486-481E-B7A7-677D457CDEF9}"/>
                </a:ext>
              </a:extLst>
            </p:cNvPr>
            <p:cNvSpPr txBox="1"/>
            <p:nvPr/>
          </p:nvSpPr>
          <p:spPr>
            <a:xfrm>
              <a:off x="7273426" y="1766261"/>
              <a:ext cx="3145031" cy="1040445"/>
            </a:xfrm>
            <a:prstGeom prst="rect">
              <a:avLst/>
            </a:prstGeom>
            <a:noFill/>
          </p:spPr>
          <p:txBody>
            <a:bodyPr wrap="square" lIns="61722" tIns="30861" rIns="61722" bIns="30861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d threats on a network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A5684251-66BF-4284-B01D-A80E17508E40}"/>
                </a:ext>
              </a:extLst>
            </p:cNvPr>
            <p:cNvSpPr txBox="1"/>
            <p:nvPr/>
          </p:nvSpPr>
          <p:spPr>
            <a:xfrm>
              <a:off x="7607317" y="3076932"/>
              <a:ext cx="2733552" cy="1040445"/>
            </a:xfrm>
            <a:prstGeom prst="rect">
              <a:avLst/>
            </a:prstGeom>
            <a:noFill/>
          </p:spPr>
          <p:txBody>
            <a:bodyPr wrap="square" lIns="61722" tIns="30861" rIns="61722" bIns="30861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ep people safe when browsing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C266B6D-F2A2-4C9E-BCA1-0F474AD67CB7}"/>
                </a:ext>
              </a:extLst>
            </p:cNvPr>
            <p:cNvSpPr txBox="1"/>
            <p:nvPr/>
          </p:nvSpPr>
          <p:spPr>
            <a:xfrm>
              <a:off x="7607317" y="5420297"/>
              <a:ext cx="2811141" cy="1040445"/>
            </a:xfrm>
            <a:prstGeom prst="rect">
              <a:avLst/>
            </a:prstGeom>
            <a:noFill/>
          </p:spPr>
          <p:txBody>
            <a:bodyPr wrap="square" lIns="61722" tIns="30861" rIns="61722" bIns="30861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b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tect data in the cloud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746C3B2-19CB-4A31-BE15-8897095E380D}"/>
                </a:ext>
              </a:extLst>
            </p:cNvPr>
            <p:cNvSpPr txBox="1"/>
            <p:nvPr/>
          </p:nvSpPr>
          <p:spPr>
            <a:xfrm>
              <a:off x="7159820" y="4219052"/>
              <a:ext cx="3222621" cy="1040445"/>
            </a:xfrm>
            <a:prstGeom prst="rect">
              <a:avLst/>
            </a:prstGeom>
            <a:noFill/>
          </p:spPr>
          <p:txBody>
            <a:bodyPr wrap="square" lIns="61722" tIns="30861" rIns="61722" bIns="30861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 endpoint malware protection</a:t>
              </a:r>
            </a:p>
          </p:txBody>
        </p:sp>
        <p:cxnSp>
          <p:nvCxnSpPr>
            <p:cNvPr id="11" name="Elbow Connector 49">
              <a:extLst>
                <a:ext uri="{FF2B5EF4-FFF2-40B4-BE49-F238E27FC236}">
                  <a16:creationId xmlns:a16="http://schemas.microsoft.com/office/drawing/2014/main" id="{E52E5E48-EF71-43D9-B67E-0B23F6840A52}"/>
                </a:ext>
              </a:extLst>
            </p:cNvPr>
            <p:cNvCxnSpPr/>
            <p:nvPr/>
          </p:nvCxnSpPr>
          <p:spPr>
            <a:xfrm rot="10800000">
              <a:off x="4244341" y="1792417"/>
              <a:ext cx="2337598" cy="31785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1"/>
              </a:solidFill>
              <a:prstDash val="dash"/>
              <a:headEnd type="triangl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Elbow Connector 50">
              <a:extLst>
                <a:ext uri="{FF2B5EF4-FFF2-40B4-BE49-F238E27FC236}">
                  <a16:creationId xmlns:a16="http://schemas.microsoft.com/office/drawing/2014/main" id="{8D7427EE-DC9E-4C45-A5E1-C523E5ED9E1F}"/>
                </a:ext>
              </a:extLst>
            </p:cNvPr>
            <p:cNvCxnSpPr/>
            <p:nvPr/>
          </p:nvCxnSpPr>
          <p:spPr>
            <a:xfrm rot="10800000">
              <a:off x="5047497" y="2282537"/>
              <a:ext cx="1954382" cy="125237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2"/>
              </a:solidFill>
              <a:prstDash val="dash"/>
              <a:headEnd type="triangl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Elbow Connector 52">
              <a:extLst>
                <a:ext uri="{FF2B5EF4-FFF2-40B4-BE49-F238E27FC236}">
                  <a16:creationId xmlns:a16="http://schemas.microsoft.com/office/drawing/2014/main" id="{FB7092BD-0506-4BA5-A173-9DC35766D4AD}"/>
                </a:ext>
              </a:extLst>
            </p:cNvPr>
            <p:cNvCxnSpPr/>
            <p:nvPr/>
          </p:nvCxnSpPr>
          <p:spPr>
            <a:xfrm rot="10800000">
              <a:off x="5173059" y="3565251"/>
              <a:ext cx="1311812" cy="1078268"/>
            </a:xfrm>
            <a:prstGeom prst="bentConnector3">
              <a:avLst>
                <a:gd name="adj1" fmla="val 44497"/>
              </a:avLst>
            </a:prstGeom>
            <a:ln>
              <a:solidFill>
                <a:schemeClr val="accent5"/>
              </a:solidFill>
              <a:prstDash val="dash"/>
              <a:headEnd type="triangl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Elbow Connector 55">
              <a:extLst>
                <a:ext uri="{FF2B5EF4-FFF2-40B4-BE49-F238E27FC236}">
                  <a16:creationId xmlns:a16="http://schemas.microsoft.com/office/drawing/2014/main" id="{7F84873E-4601-4794-A222-1D005E760FE8}"/>
                </a:ext>
              </a:extLst>
            </p:cNvPr>
            <p:cNvCxnSpPr/>
            <p:nvPr/>
          </p:nvCxnSpPr>
          <p:spPr>
            <a:xfrm rot="10800000">
              <a:off x="5326421" y="4475559"/>
              <a:ext cx="1575383" cy="1162907"/>
            </a:xfrm>
            <a:prstGeom prst="bentConnector3">
              <a:avLst>
                <a:gd name="adj1" fmla="val 85284"/>
              </a:avLst>
            </a:prstGeom>
            <a:ln>
              <a:solidFill>
                <a:schemeClr val="accent6"/>
              </a:solidFill>
              <a:prstDash val="dash"/>
              <a:headEnd type="triangl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6F973487-9230-4A27-9AC6-B6A2348BD95A}"/>
                </a:ext>
              </a:extLst>
            </p:cNvPr>
            <p:cNvSpPr>
              <a:spLocks/>
            </p:cNvSpPr>
            <p:nvPr/>
          </p:nvSpPr>
          <p:spPr bwMode="auto">
            <a:xfrm rot="701861">
              <a:off x="2866835" y="3849021"/>
              <a:ext cx="2262530" cy="2260418"/>
            </a:xfrm>
            <a:custGeom>
              <a:avLst/>
              <a:gdLst>
                <a:gd name="T0" fmla="*/ 2143 w 2143"/>
                <a:gd name="T1" fmla="*/ 405 h 2141"/>
                <a:gd name="T2" fmla="*/ 405 w 2143"/>
                <a:gd name="T3" fmla="*/ 2141 h 2141"/>
                <a:gd name="T4" fmla="*/ 0 w 2143"/>
                <a:gd name="T5" fmla="*/ 1737 h 2141"/>
                <a:gd name="T6" fmla="*/ 1738 w 2143"/>
                <a:gd name="T7" fmla="*/ 0 h 2141"/>
                <a:gd name="T8" fmla="*/ 2091 w 2143"/>
                <a:gd name="T9" fmla="*/ 52 h 2141"/>
                <a:gd name="T10" fmla="*/ 2143 w 2143"/>
                <a:gd name="T11" fmla="*/ 405 h 2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43" h="2141">
                  <a:moveTo>
                    <a:pt x="2143" y="405"/>
                  </a:moveTo>
                  <a:lnTo>
                    <a:pt x="405" y="2141"/>
                  </a:lnTo>
                  <a:lnTo>
                    <a:pt x="0" y="1737"/>
                  </a:lnTo>
                  <a:lnTo>
                    <a:pt x="1738" y="0"/>
                  </a:lnTo>
                  <a:lnTo>
                    <a:pt x="2091" y="52"/>
                  </a:lnTo>
                  <a:lnTo>
                    <a:pt x="2143" y="40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722" tIns="30861" rIns="61722" bIns="30861" numCol="1" anchor="t" anchorCtr="0" compatLnSpc="1">
              <a:prstTxWarp prst="textNoShape">
                <a:avLst/>
              </a:prstTxWarp>
            </a:bodyPr>
            <a:lstStyle/>
            <a:p>
              <a:endParaRPr lang="en-US" sz="94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78BEC1F-A019-4FAA-8F68-35CE91299FA4}"/>
                </a:ext>
              </a:extLst>
            </p:cNvPr>
            <p:cNvGrpSpPr/>
            <p:nvPr/>
          </p:nvGrpSpPr>
          <p:grpSpPr>
            <a:xfrm>
              <a:off x="3375489" y="3901125"/>
              <a:ext cx="1797223" cy="1785178"/>
              <a:chOff x="3073208" y="3953584"/>
              <a:chExt cx="1996915" cy="1983530"/>
            </a:xfrm>
          </p:grpSpPr>
          <p:sp>
            <p:nvSpPr>
              <p:cNvPr id="51" name="Freeform 58">
                <a:extLst>
                  <a:ext uri="{FF2B5EF4-FFF2-40B4-BE49-F238E27FC236}">
                    <a16:creationId xmlns:a16="http://schemas.microsoft.com/office/drawing/2014/main" id="{397B686B-0D20-4B85-80B8-4C344CD441D2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073208" y="3953584"/>
                <a:ext cx="1996915" cy="1983530"/>
              </a:xfrm>
              <a:custGeom>
                <a:avLst/>
                <a:gdLst>
                  <a:gd name="connsiteX0" fmla="*/ 1521815 w 1996915"/>
                  <a:gd name="connsiteY0" fmla="*/ 0 h 1983530"/>
                  <a:gd name="connsiteX1" fmla="*/ 1935914 w 1996915"/>
                  <a:gd name="connsiteY1" fmla="*/ 61000 h 1983530"/>
                  <a:gd name="connsiteX2" fmla="*/ 1996915 w 1996915"/>
                  <a:gd name="connsiteY2" fmla="*/ 475099 h 1983530"/>
                  <a:gd name="connsiteX3" fmla="*/ 486747 w 1996915"/>
                  <a:gd name="connsiteY3" fmla="*/ 1983530 h 1983530"/>
                  <a:gd name="connsiteX4" fmla="*/ 0 w 1996915"/>
                  <a:gd name="connsiteY4" fmla="*/ 1520939 h 1983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6915" h="1983530">
                    <a:moveTo>
                      <a:pt x="1521815" y="0"/>
                    </a:moveTo>
                    <a:lnTo>
                      <a:pt x="1935914" y="61000"/>
                    </a:lnTo>
                    <a:lnTo>
                      <a:pt x="1996915" y="475099"/>
                    </a:lnTo>
                    <a:lnTo>
                      <a:pt x="486747" y="1983530"/>
                    </a:lnTo>
                    <a:lnTo>
                      <a:pt x="0" y="1520939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8B697C1-849B-47FC-9DB1-A28FD81E8567}"/>
                  </a:ext>
                </a:extLst>
              </p:cNvPr>
              <p:cNvSpPr txBox="1"/>
              <p:nvPr/>
            </p:nvSpPr>
            <p:spPr>
              <a:xfrm rot="19581762" flipH="1">
                <a:off x="3337707" y="4522407"/>
                <a:ext cx="1698558" cy="646330"/>
              </a:xfrm>
              <a:prstGeom prst="rect">
                <a:avLst/>
              </a:prstGeom>
              <a:noFill/>
            </p:spPr>
            <p:txBody>
              <a:bodyPr wrap="square" lIns="61722" tIns="30861" rIns="61722" bIns="30861" rtlCol="0" anchor="ctr">
                <a:sp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en-US" sz="945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ON </a:t>
                </a:r>
                <a:r>
                  <a:rPr lang="en-US" sz="162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4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4E2FE34-45E0-4441-B3F3-C759EC556799}"/>
                </a:ext>
              </a:extLst>
            </p:cNvPr>
            <p:cNvGrpSpPr/>
            <p:nvPr/>
          </p:nvGrpSpPr>
          <p:grpSpPr>
            <a:xfrm>
              <a:off x="2726509" y="2890606"/>
              <a:ext cx="2264856" cy="2262530"/>
              <a:chOff x="2352121" y="2830784"/>
              <a:chExt cx="2516506" cy="2513922"/>
            </a:xfrm>
          </p:grpSpPr>
          <p:sp>
            <p:nvSpPr>
              <p:cNvPr id="49" name="Freeform 10">
                <a:extLst>
                  <a:ext uri="{FF2B5EF4-FFF2-40B4-BE49-F238E27FC236}">
                    <a16:creationId xmlns:a16="http://schemas.microsoft.com/office/drawing/2014/main" id="{6DEABF60-46F9-4A82-8C84-6E0F2219875D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2352121" y="2830784"/>
                <a:ext cx="2513922" cy="2513922"/>
              </a:xfrm>
              <a:custGeom>
                <a:avLst/>
                <a:gdLst>
                  <a:gd name="T0" fmla="*/ 2143 w 2143"/>
                  <a:gd name="T1" fmla="*/ 406 h 2143"/>
                  <a:gd name="T2" fmla="*/ 406 w 2143"/>
                  <a:gd name="T3" fmla="*/ 2143 h 2143"/>
                  <a:gd name="T4" fmla="*/ 0 w 2143"/>
                  <a:gd name="T5" fmla="*/ 1738 h 2143"/>
                  <a:gd name="T6" fmla="*/ 1738 w 2143"/>
                  <a:gd name="T7" fmla="*/ 0 h 2143"/>
                  <a:gd name="T8" fmla="*/ 2091 w 2143"/>
                  <a:gd name="T9" fmla="*/ 52 h 2143"/>
                  <a:gd name="T10" fmla="*/ 2143 w 2143"/>
                  <a:gd name="T11" fmla="*/ 406 h 2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43" h="2143">
                    <a:moveTo>
                      <a:pt x="2143" y="406"/>
                    </a:moveTo>
                    <a:lnTo>
                      <a:pt x="406" y="2143"/>
                    </a:lnTo>
                    <a:lnTo>
                      <a:pt x="0" y="1738"/>
                    </a:lnTo>
                    <a:lnTo>
                      <a:pt x="1738" y="0"/>
                    </a:lnTo>
                    <a:lnTo>
                      <a:pt x="2091" y="52"/>
                    </a:lnTo>
                    <a:lnTo>
                      <a:pt x="2143" y="406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39A99DF-98A9-48BC-87A9-0347FD1B37AE}"/>
                  </a:ext>
                </a:extLst>
              </p:cNvPr>
              <p:cNvSpPr txBox="1"/>
              <p:nvPr/>
            </p:nvSpPr>
            <p:spPr>
              <a:xfrm rot="19581762" flipH="1">
                <a:off x="3170067" y="3454047"/>
                <a:ext cx="1698560" cy="646330"/>
              </a:xfrm>
              <a:prstGeom prst="rect">
                <a:avLst/>
              </a:prstGeom>
              <a:noFill/>
            </p:spPr>
            <p:txBody>
              <a:bodyPr wrap="square" lIns="61722" tIns="30861" rIns="61722" bIns="30861" rtlCol="0" anchor="ctr">
                <a:sp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en-US" sz="945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ON </a:t>
                </a:r>
                <a:r>
                  <a:rPr lang="en-US" sz="162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3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D218102-7ACB-497A-B61F-F8DDE602AF53}"/>
                </a:ext>
              </a:extLst>
            </p:cNvPr>
            <p:cNvGrpSpPr/>
            <p:nvPr/>
          </p:nvGrpSpPr>
          <p:grpSpPr>
            <a:xfrm>
              <a:off x="2501112" y="1991083"/>
              <a:ext cx="2269784" cy="2260418"/>
              <a:chOff x="2101678" y="1831315"/>
              <a:chExt cx="2521983" cy="2511576"/>
            </a:xfrm>
          </p:grpSpPr>
          <p:sp>
            <p:nvSpPr>
              <p:cNvPr id="47" name="Freeform 7">
                <a:extLst>
                  <a:ext uri="{FF2B5EF4-FFF2-40B4-BE49-F238E27FC236}">
                    <a16:creationId xmlns:a16="http://schemas.microsoft.com/office/drawing/2014/main" id="{76C1FBCC-AE6D-44CC-9ED7-88DDA97C1CF9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2101678" y="1831315"/>
                <a:ext cx="2513922" cy="2511576"/>
              </a:xfrm>
              <a:custGeom>
                <a:avLst/>
                <a:gdLst>
                  <a:gd name="T0" fmla="*/ 2143 w 2143"/>
                  <a:gd name="T1" fmla="*/ 404 h 2141"/>
                  <a:gd name="T2" fmla="*/ 405 w 2143"/>
                  <a:gd name="T3" fmla="*/ 2141 h 2141"/>
                  <a:gd name="T4" fmla="*/ 0 w 2143"/>
                  <a:gd name="T5" fmla="*/ 1738 h 2141"/>
                  <a:gd name="T6" fmla="*/ 1737 w 2143"/>
                  <a:gd name="T7" fmla="*/ 0 h 2141"/>
                  <a:gd name="T8" fmla="*/ 2090 w 2143"/>
                  <a:gd name="T9" fmla="*/ 52 h 2141"/>
                  <a:gd name="T10" fmla="*/ 2143 w 2143"/>
                  <a:gd name="T11" fmla="*/ 404 h 2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43" h="2141">
                    <a:moveTo>
                      <a:pt x="2143" y="404"/>
                    </a:moveTo>
                    <a:lnTo>
                      <a:pt x="405" y="2141"/>
                    </a:lnTo>
                    <a:lnTo>
                      <a:pt x="0" y="1738"/>
                    </a:lnTo>
                    <a:lnTo>
                      <a:pt x="1737" y="0"/>
                    </a:lnTo>
                    <a:lnTo>
                      <a:pt x="2090" y="52"/>
                    </a:lnTo>
                    <a:lnTo>
                      <a:pt x="2143" y="40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06219638-ED9F-460A-86F9-73C8B8AED9A2}"/>
                  </a:ext>
                </a:extLst>
              </p:cNvPr>
              <p:cNvSpPr txBox="1"/>
              <p:nvPr/>
            </p:nvSpPr>
            <p:spPr>
              <a:xfrm rot="19581762" flipH="1">
                <a:off x="2925103" y="2453801"/>
                <a:ext cx="1698558" cy="646330"/>
              </a:xfrm>
              <a:prstGeom prst="rect">
                <a:avLst/>
              </a:prstGeom>
              <a:noFill/>
            </p:spPr>
            <p:txBody>
              <a:bodyPr wrap="square" lIns="61722" tIns="30861" rIns="61722" bIns="30861" rtlCol="0" anchor="ctr">
                <a:sp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en-US" sz="945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ON </a:t>
                </a:r>
                <a:r>
                  <a:rPr lang="en-US" sz="162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2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6CB2E8D6-3127-43C1-9A40-9042534E0994}"/>
                </a:ext>
              </a:extLst>
            </p:cNvPr>
            <p:cNvGrpSpPr/>
            <p:nvPr/>
          </p:nvGrpSpPr>
          <p:grpSpPr>
            <a:xfrm>
              <a:off x="2066113" y="1508736"/>
              <a:ext cx="1924675" cy="1914364"/>
              <a:chOff x="1618348" y="1295372"/>
              <a:chExt cx="2138528" cy="2127071"/>
            </a:xfrm>
          </p:grpSpPr>
          <p:sp>
            <p:nvSpPr>
              <p:cNvPr id="45" name="Freeform 56">
                <a:extLst>
                  <a:ext uri="{FF2B5EF4-FFF2-40B4-BE49-F238E27FC236}">
                    <a16:creationId xmlns:a16="http://schemas.microsoft.com/office/drawing/2014/main" id="{80F8C662-1CDA-4E5E-A05B-82FC2BB26600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1618348" y="1295372"/>
                <a:ext cx="2138528" cy="2127071"/>
              </a:xfrm>
              <a:custGeom>
                <a:avLst/>
                <a:gdLst>
                  <a:gd name="connsiteX0" fmla="*/ 1665774 w 2138528"/>
                  <a:gd name="connsiteY0" fmla="*/ 0 h 2127071"/>
                  <a:gd name="connsiteX1" fmla="*/ 2077528 w 2138528"/>
                  <a:gd name="connsiteY1" fmla="*/ 61000 h 2127071"/>
                  <a:gd name="connsiteX2" fmla="*/ 2138528 w 2138528"/>
                  <a:gd name="connsiteY2" fmla="*/ 473927 h 2127071"/>
                  <a:gd name="connsiteX3" fmla="*/ 485383 w 2138528"/>
                  <a:gd name="connsiteY3" fmla="*/ 2127071 h 2127071"/>
                  <a:gd name="connsiteX4" fmla="*/ 0 w 2138528"/>
                  <a:gd name="connsiteY4" fmla="*/ 1665775 h 212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8528" h="2127071">
                    <a:moveTo>
                      <a:pt x="1665774" y="0"/>
                    </a:moveTo>
                    <a:lnTo>
                      <a:pt x="2077528" y="61000"/>
                    </a:lnTo>
                    <a:lnTo>
                      <a:pt x="2138528" y="473927"/>
                    </a:lnTo>
                    <a:lnTo>
                      <a:pt x="485383" y="2127071"/>
                    </a:lnTo>
                    <a:lnTo>
                      <a:pt x="0" y="166577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C5D65E9-E787-474C-94E3-499C4D66BB55}"/>
                  </a:ext>
                </a:extLst>
              </p:cNvPr>
              <p:cNvSpPr txBox="1"/>
              <p:nvPr/>
            </p:nvSpPr>
            <p:spPr>
              <a:xfrm rot="19581762" flipH="1">
                <a:off x="2026798" y="1883406"/>
                <a:ext cx="1698559" cy="646330"/>
              </a:xfrm>
              <a:prstGeom prst="rect">
                <a:avLst/>
              </a:prstGeom>
              <a:noFill/>
            </p:spPr>
            <p:txBody>
              <a:bodyPr wrap="square" lIns="61722" tIns="30861" rIns="61722" bIns="30861" rtlCol="0" anchor="ctr">
                <a:sp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en-US" sz="945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ON </a:t>
                </a:r>
                <a:r>
                  <a:rPr lang="en-US" sz="162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1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65A5150-08F8-4835-80EC-0AF698231439}"/>
                </a:ext>
              </a:extLst>
            </p:cNvPr>
            <p:cNvGrpSpPr/>
            <p:nvPr/>
          </p:nvGrpSpPr>
          <p:grpSpPr>
            <a:xfrm>
              <a:off x="7048672" y="3383596"/>
              <a:ext cx="411480" cy="411480"/>
              <a:chOff x="7154524" y="3378552"/>
              <a:chExt cx="457200" cy="45720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684B6646-2305-46A4-BBB2-6A39AD806D02}"/>
                  </a:ext>
                </a:extLst>
              </p:cNvPr>
              <p:cNvSpPr/>
              <p:nvPr/>
            </p:nvSpPr>
            <p:spPr>
              <a:xfrm>
                <a:off x="7154524" y="3378552"/>
                <a:ext cx="457200" cy="4572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8">
                <a:extLst>
                  <a:ext uri="{FF2B5EF4-FFF2-40B4-BE49-F238E27FC236}">
                    <a16:creationId xmlns:a16="http://schemas.microsoft.com/office/drawing/2014/main" id="{F16CD884-E0DA-4675-B329-9F82DB37E8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78022" y="3504139"/>
                <a:ext cx="196452" cy="240378"/>
              </a:xfrm>
              <a:custGeom>
                <a:avLst/>
                <a:gdLst>
                  <a:gd name="T0" fmla="*/ 146 w 397"/>
                  <a:gd name="T1" fmla="*/ 456 h 484"/>
                  <a:gd name="T2" fmla="*/ 85 w 397"/>
                  <a:gd name="T3" fmla="*/ 484 h 484"/>
                  <a:gd name="T4" fmla="*/ 369 w 397"/>
                  <a:gd name="T5" fmla="*/ 456 h 484"/>
                  <a:gd name="T6" fmla="*/ 288 w 397"/>
                  <a:gd name="T7" fmla="*/ 389 h 484"/>
                  <a:gd name="T8" fmla="*/ 357 w 397"/>
                  <a:gd name="T9" fmla="*/ 280 h 484"/>
                  <a:gd name="T10" fmla="*/ 227 w 397"/>
                  <a:gd name="T11" fmla="*/ 0 h 484"/>
                  <a:gd name="T12" fmla="*/ 77 w 397"/>
                  <a:gd name="T13" fmla="*/ 0 h 484"/>
                  <a:gd name="T14" fmla="*/ 166 w 397"/>
                  <a:gd name="T15" fmla="*/ 389 h 484"/>
                  <a:gd name="T16" fmla="*/ 194 w 397"/>
                  <a:gd name="T17" fmla="*/ 395 h 484"/>
                  <a:gd name="T18" fmla="*/ 260 w 397"/>
                  <a:gd name="T19" fmla="*/ 395 h 484"/>
                  <a:gd name="T20" fmla="*/ 175 w 397"/>
                  <a:gd name="T21" fmla="*/ 456 h 484"/>
                  <a:gd name="T22" fmla="*/ 312 w 397"/>
                  <a:gd name="T23" fmla="*/ 227 h 484"/>
                  <a:gd name="T24" fmla="*/ 340 w 397"/>
                  <a:gd name="T25" fmla="*/ 190 h 484"/>
                  <a:gd name="T26" fmla="*/ 369 w 397"/>
                  <a:gd name="T27" fmla="*/ 170 h 484"/>
                  <a:gd name="T28" fmla="*/ 199 w 397"/>
                  <a:gd name="T29" fmla="*/ 77 h 484"/>
                  <a:gd name="T30" fmla="*/ 227 w 397"/>
                  <a:gd name="T31" fmla="*/ 28 h 484"/>
                  <a:gd name="T32" fmla="*/ 255 w 397"/>
                  <a:gd name="T33" fmla="*/ 59 h 484"/>
                  <a:gd name="T34" fmla="*/ 210 w 397"/>
                  <a:gd name="T35" fmla="*/ 82 h 484"/>
                  <a:gd name="T36" fmla="*/ 176 w 397"/>
                  <a:gd name="T37" fmla="*/ 99 h 484"/>
                  <a:gd name="T38" fmla="*/ 170 w 397"/>
                  <a:gd name="T39" fmla="*/ 40 h 484"/>
                  <a:gd name="T40" fmla="*/ 136 w 397"/>
                  <a:gd name="T41" fmla="*/ 99 h 484"/>
                  <a:gd name="T42" fmla="*/ 216 w 397"/>
                  <a:gd name="T43" fmla="*/ 116 h 484"/>
                  <a:gd name="T44" fmla="*/ 284 w 397"/>
                  <a:gd name="T45" fmla="*/ 83 h 484"/>
                  <a:gd name="T46" fmla="*/ 366 w 397"/>
                  <a:gd name="T47" fmla="*/ 142 h 484"/>
                  <a:gd name="T48" fmla="*/ 312 w 397"/>
                  <a:gd name="T49" fmla="*/ 178 h 484"/>
                  <a:gd name="T50" fmla="*/ 284 w 397"/>
                  <a:gd name="T51" fmla="*/ 255 h 484"/>
                  <a:gd name="T52" fmla="*/ 280 w 397"/>
                  <a:gd name="T53" fmla="*/ 301 h 484"/>
                  <a:gd name="T54" fmla="*/ 255 w 397"/>
                  <a:gd name="T55" fmla="*/ 227 h 484"/>
                  <a:gd name="T56" fmla="*/ 227 w 397"/>
                  <a:gd name="T57" fmla="*/ 170 h 484"/>
                  <a:gd name="T58" fmla="*/ 150 w 397"/>
                  <a:gd name="T59" fmla="*/ 198 h 484"/>
                  <a:gd name="T60" fmla="*/ 142 w 397"/>
                  <a:gd name="T61" fmla="*/ 142 h 484"/>
                  <a:gd name="T62" fmla="*/ 170 w 397"/>
                  <a:gd name="T63" fmla="*/ 40 h 484"/>
                  <a:gd name="T64" fmla="*/ 190 w 397"/>
                  <a:gd name="T65" fmla="*/ 198 h 484"/>
                  <a:gd name="T66" fmla="*/ 199 w 397"/>
                  <a:gd name="T67" fmla="*/ 255 h 484"/>
                  <a:gd name="T68" fmla="*/ 227 w 397"/>
                  <a:gd name="T69" fmla="*/ 306 h 484"/>
                  <a:gd name="T70" fmla="*/ 227 w 397"/>
                  <a:gd name="T71" fmla="*/ 312 h 484"/>
                  <a:gd name="T72" fmla="*/ 114 w 397"/>
                  <a:gd name="T73" fmla="*/ 170 h 484"/>
                  <a:gd name="T74" fmla="*/ 162 w 397"/>
                  <a:gd name="T75" fmla="*/ 227 h 484"/>
                  <a:gd name="T76" fmla="*/ 97 w 397"/>
                  <a:gd name="T77" fmla="*/ 60 h 484"/>
                  <a:gd name="T78" fmla="*/ 227 w 397"/>
                  <a:gd name="T79" fmla="*/ 340 h 484"/>
                  <a:gd name="T80" fmla="*/ 357 w 397"/>
                  <a:gd name="T81" fmla="*/ 320 h 484"/>
                  <a:gd name="T82" fmla="*/ 28 w 397"/>
                  <a:gd name="T83" fmla="*/ 17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97" h="484">
                    <a:moveTo>
                      <a:pt x="166" y="389"/>
                    </a:moveTo>
                    <a:cubicBezTo>
                      <a:pt x="146" y="456"/>
                      <a:pt x="146" y="456"/>
                      <a:pt x="146" y="456"/>
                    </a:cubicBezTo>
                    <a:cubicBezTo>
                      <a:pt x="85" y="456"/>
                      <a:pt x="85" y="456"/>
                      <a:pt x="85" y="456"/>
                    </a:cubicBezTo>
                    <a:cubicBezTo>
                      <a:pt x="85" y="484"/>
                      <a:pt x="85" y="484"/>
                      <a:pt x="85" y="484"/>
                    </a:cubicBezTo>
                    <a:cubicBezTo>
                      <a:pt x="369" y="484"/>
                      <a:pt x="369" y="484"/>
                      <a:pt x="369" y="484"/>
                    </a:cubicBezTo>
                    <a:cubicBezTo>
                      <a:pt x="369" y="456"/>
                      <a:pt x="369" y="456"/>
                      <a:pt x="369" y="456"/>
                    </a:cubicBezTo>
                    <a:cubicBezTo>
                      <a:pt x="308" y="456"/>
                      <a:pt x="308" y="456"/>
                      <a:pt x="308" y="456"/>
                    </a:cubicBezTo>
                    <a:cubicBezTo>
                      <a:pt x="288" y="389"/>
                      <a:pt x="288" y="389"/>
                      <a:pt x="288" y="389"/>
                    </a:cubicBezTo>
                    <a:cubicBezTo>
                      <a:pt x="357" y="370"/>
                      <a:pt x="391" y="325"/>
                      <a:pt x="397" y="320"/>
                    </a:cubicBezTo>
                    <a:cubicBezTo>
                      <a:pt x="357" y="280"/>
                      <a:pt x="357" y="280"/>
                      <a:pt x="357" y="280"/>
                    </a:cubicBezTo>
                    <a:cubicBezTo>
                      <a:pt x="382" y="250"/>
                      <a:pt x="397" y="212"/>
                      <a:pt x="397" y="170"/>
                    </a:cubicBezTo>
                    <a:cubicBezTo>
                      <a:pt x="397" y="76"/>
                      <a:pt x="321" y="0"/>
                      <a:pt x="227" y="0"/>
                    </a:cubicBezTo>
                    <a:cubicBezTo>
                      <a:pt x="185" y="0"/>
                      <a:pt x="147" y="15"/>
                      <a:pt x="117" y="4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3" y="5"/>
                      <a:pt x="0" y="61"/>
                      <a:pt x="0" y="170"/>
                    </a:cubicBezTo>
                    <a:cubicBezTo>
                      <a:pt x="0" y="277"/>
                      <a:pt x="73" y="363"/>
                      <a:pt x="166" y="389"/>
                    </a:cubicBezTo>
                    <a:close/>
                    <a:moveTo>
                      <a:pt x="175" y="456"/>
                    </a:moveTo>
                    <a:cubicBezTo>
                      <a:pt x="194" y="395"/>
                      <a:pt x="194" y="395"/>
                      <a:pt x="194" y="395"/>
                    </a:cubicBezTo>
                    <a:cubicBezTo>
                      <a:pt x="205" y="396"/>
                      <a:pt x="216" y="397"/>
                      <a:pt x="227" y="397"/>
                    </a:cubicBezTo>
                    <a:cubicBezTo>
                      <a:pt x="238" y="397"/>
                      <a:pt x="249" y="396"/>
                      <a:pt x="260" y="395"/>
                    </a:cubicBezTo>
                    <a:cubicBezTo>
                      <a:pt x="279" y="456"/>
                      <a:pt x="279" y="456"/>
                      <a:pt x="279" y="456"/>
                    </a:cubicBezTo>
                    <a:lnTo>
                      <a:pt x="175" y="456"/>
                    </a:lnTo>
                    <a:close/>
                    <a:moveTo>
                      <a:pt x="357" y="227"/>
                    </a:moveTo>
                    <a:cubicBezTo>
                      <a:pt x="312" y="227"/>
                      <a:pt x="312" y="227"/>
                      <a:pt x="312" y="227"/>
                    </a:cubicBezTo>
                    <a:cubicBezTo>
                      <a:pt x="312" y="218"/>
                      <a:pt x="312" y="218"/>
                      <a:pt x="312" y="218"/>
                    </a:cubicBezTo>
                    <a:cubicBezTo>
                      <a:pt x="340" y="190"/>
                      <a:pt x="340" y="190"/>
                      <a:pt x="340" y="190"/>
                    </a:cubicBezTo>
                    <a:cubicBezTo>
                      <a:pt x="340" y="170"/>
                      <a:pt x="340" y="170"/>
                      <a:pt x="340" y="170"/>
                    </a:cubicBezTo>
                    <a:cubicBezTo>
                      <a:pt x="369" y="170"/>
                      <a:pt x="369" y="170"/>
                      <a:pt x="369" y="170"/>
                    </a:cubicBezTo>
                    <a:cubicBezTo>
                      <a:pt x="369" y="190"/>
                      <a:pt x="365" y="209"/>
                      <a:pt x="357" y="227"/>
                    </a:cubicBezTo>
                    <a:close/>
                    <a:moveTo>
                      <a:pt x="199" y="77"/>
                    </a:moveTo>
                    <a:cubicBezTo>
                      <a:pt x="199" y="31"/>
                      <a:pt x="199" y="31"/>
                      <a:pt x="199" y="31"/>
                    </a:cubicBezTo>
                    <a:cubicBezTo>
                      <a:pt x="208" y="29"/>
                      <a:pt x="217" y="28"/>
                      <a:pt x="227" y="28"/>
                    </a:cubicBezTo>
                    <a:cubicBezTo>
                      <a:pt x="255" y="28"/>
                      <a:pt x="281" y="36"/>
                      <a:pt x="303" y="50"/>
                    </a:cubicBezTo>
                    <a:cubicBezTo>
                      <a:pt x="255" y="59"/>
                      <a:pt x="255" y="59"/>
                      <a:pt x="255" y="59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10" y="82"/>
                      <a:pt x="210" y="82"/>
                      <a:pt x="210" y="82"/>
                    </a:cubicBezTo>
                    <a:cubicBezTo>
                      <a:pt x="184" y="107"/>
                      <a:pt x="184" y="107"/>
                      <a:pt x="184" y="107"/>
                    </a:cubicBezTo>
                    <a:cubicBezTo>
                      <a:pt x="176" y="99"/>
                      <a:pt x="176" y="99"/>
                      <a:pt x="176" y="99"/>
                    </a:cubicBezTo>
                    <a:lnTo>
                      <a:pt x="199" y="77"/>
                    </a:lnTo>
                    <a:close/>
                    <a:moveTo>
                      <a:pt x="170" y="40"/>
                    </a:moveTo>
                    <a:cubicBezTo>
                      <a:pt x="170" y="65"/>
                      <a:pt x="170" y="65"/>
                      <a:pt x="170" y="65"/>
                    </a:cubicBezTo>
                    <a:cubicBezTo>
                      <a:pt x="136" y="99"/>
                      <a:pt x="136" y="99"/>
                      <a:pt x="136" y="99"/>
                    </a:cubicBezTo>
                    <a:cubicBezTo>
                      <a:pt x="184" y="148"/>
                      <a:pt x="184" y="148"/>
                      <a:pt x="184" y="148"/>
                    </a:cubicBezTo>
                    <a:cubicBezTo>
                      <a:pt x="216" y="116"/>
                      <a:pt x="216" y="116"/>
                      <a:pt x="216" y="116"/>
                    </a:cubicBezTo>
                    <a:cubicBezTo>
                      <a:pt x="284" y="150"/>
                      <a:pt x="284" y="150"/>
                      <a:pt x="284" y="150"/>
                    </a:cubicBezTo>
                    <a:cubicBezTo>
                      <a:pt x="284" y="83"/>
                      <a:pt x="284" y="83"/>
                      <a:pt x="284" y="83"/>
                    </a:cubicBezTo>
                    <a:cubicBezTo>
                      <a:pt x="331" y="74"/>
                      <a:pt x="331" y="74"/>
                      <a:pt x="331" y="74"/>
                    </a:cubicBezTo>
                    <a:cubicBezTo>
                      <a:pt x="348" y="93"/>
                      <a:pt x="361" y="116"/>
                      <a:pt x="366" y="142"/>
                    </a:cubicBezTo>
                    <a:cubicBezTo>
                      <a:pt x="312" y="142"/>
                      <a:pt x="312" y="142"/>
                      <a:pt x="312" y="142"/>
                    </a:cubicBezTo>
                    <a:cubicBezTo>
                      <a:pt x="312" y="178"/>
                      <a:pt x="312" y="178"/>
                      <a:pt x="312" y="178"/>
                    </a:cubicBezTo>
                    <a:cubicBezTo>
                      <a:pt x="284" y="207"/>
                      <a:pt x="284" y="207"/>
                      <a:pt x="284" y="207"/>
                    </a:cubicBezTo>
                    <a:cubicBezTo>
                      <a:pt x="284" y="255"/>
                      <a:pt x="284" y="255"/>
                      <a:pt x="284" y="255"/>
                    </a:cubicBezTo>
                    <a:cubicBezTo>
                      <a:pt x="340" y="255"/>
                      <a:pt x="340" y="255"/>
                      <a:pt x="340" y="255"/>
                    </a:cubicBezTo>
                    <a:cubicBezTo>
                      <a:pt x="325" y="276"/>
                      <a:pt x="304" y="292"/>
                      <a:pt x="280" y="301"/>
                    </a:cubicBezTo>
                    <a:cubicBezTo>
                      <a:pt x="255" y="289"/>
                      <a:pt x="255" y="289"/>
                      <a:pt x="255" y="289"/>
                    </a:cubicBezTo>
                    <a:cubicBezTo>
                      <a:pt x="255" y="227"/>
                      <a:pt x="255" y="227"/>
                      <a:pt x="255" y="227"/>
                    </a:cubicBezTo>
                    <a:cubicBezTo>
                      <a:pt x="227" y="227"/>
                      <a:pt x="227" y="227"/>
                      <a:pt x="227" y="227"/>
                    </a:cubicBezTo>
                    <a:cubicBezTo>
                      <a:pt x="227" y="170"/>
                      <a:pt x="227" y="170"/>
                      <a:pt x="227" y="170"/>
                    </a:cubicBezTo>
                    <a:cubicBezTo>
                      <a:pt x="179" y="170"/>
                      <a:pt x="179" y="170"/>
                      <a:pt x="179" y="170"/>
                    </a:cubicBezTo>
                    <a:cubicBezTo>
                      <a:pt x="150" y="198"/>
                      <a:pt x="150" y="198"/>
                      <a:pt x="150" y="198"/>
                    </a:cubicBezTo>
                    <a:cubicBezTo>
                      <a:pt x="142" y="198"/>
                      <a:pt x="142" y="198"/>
                      <a:pt x="142" y="198"/>
                    </a:cubicBezTo>
                    <a:cubicBezTo>
                      <a:pt x="142" y="142"/>
                      <a:pt x="142" y="142"/>
                      <a:pt x="142" y="142"/>
                    </a:cubicBezTo>
                    <a:cubicBezTo>
                      <a:pt x="88" y="142"/>
                      <a:pt x="88" y="142"/>
                      <a:pt x="88" y="142"/>
                    </a:cubicBezTo>
                    <a:cubicBezTo>
                      <a:pt x="97" y="96"/>
                      <a:pt x="129" y="58"/>
                      <a:pt x="170" y="40"/>
                    </a:cubicBezTo>
                    <a:close/>
                    <a:moveTo>
                      <a:pt x="162" y="227"/>
                    </a:moveTo>
                    <a:cubicBezTo>
                      <a:pt x="190" y="198"/>
                      <a:pt x="190" y="198"/>
                      <a:pt x="190" y="198"/>
                    </a:cubicBezTo>
                    <a:cubicBezTo>
                      <a:pt x="199" y="198"/>
                      <a:pt x="199" y="198"/>
                      <a:pt x="199" y="198"/>
                    </a:cubicBezTo>
                    <a:cubicBezTo>
                      <a:pt x="199" y="255"/>
                      <a:pt x="199" y="255"/>
                      <a:pt x="199" y="255"/>
                    </a:cubicBezTo>
                    <a:cubicBezTo>
                      <a:pt x="227" y="255"/>
                      <a:pt x="227" y="255"/>
                      <a:pt x="227" y="255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37" y="311"/>
                      <a:pt x="237" y="311"/>
                      <a:pt x="237" y="311"/>
                    </a:cubicBezTo>
                    <a:cubicBezTo>
                      <a:pt x="234" y="312"/>
                      <a:pt x="230" y="312"/>
                      <a:pt x="227" y="312"/>
                    </a:cubicBezTo>
                    <a:cubicBezTo>
                      <a:pt x="149" y="312"/>
                      <a:pt x="85" y="248"/>
                      <a:pt x="85" y="170"/>
                    </a:cubicBezTo>
                    <a:cubicBezTo>
                      <a:pt x="114" y="170"/>
                      <a:pt x="114" y="170"/>
                      <a:pt x="114" y="170"/>
                    </a:cubicBezTo>
                    <a:cubicBezTo>
                      <a:pt x="114" y="227"/>
                      <a:pt x="114" y="227"/>
                      <a:pt x="114" y="227"/>
                    </a:cubicBezTo>
                    <a:lnTo>
                      <a:pt x="162" y="227"/>
                    </a:lnTo>
                    <a:close/>
                    <a:moveTo>
                      <a:pt x="77" y="40"/>
                    </a:moveTo>
                    <a:cubicBezTo>
                      <a:pt x="97" y="60"/>
                      <a:pt x="97" y="60"/>
                      <a:pt x="97" y="60"/>
                    </a:cubicBezTo>
                    <a:cubicBezTo>
                      <a:pt x="72" y="90"/>
                      <a:pt x="57" y="128"/>
                      <a:pt x="57" y="170"/>
                    </a:cubicBezTo>
                    <a:cubicBezTo>
                      <a:pt x="57" y="264"/>
                      <a:pt x="133" y="340"/>
                      <a:pt x="227" y="340"/>
                    </a:cubicBezTo>
                    <a:cubicBezTo>
                      <a:pt x="269" y="340"/>
                      <a:pt x="307" y="325"/>
                      <a:pt x="337" y="300"/>
                    </a:cubicBezTo>
                    <a:cubicBezTo>
                      <a:pt x="357" y="320"/>
                      <a:pt x="357" y="320"/>
                      <a:pt x="357" y="320"/>
                    </a:cubicBezTo>
                    <a:cubicBezTo>
                      <a:pt x="321" y="351"/>
                      <a:pt x="275" y="369"/>
                      <a:pt x="227" y="369"/>
                    </a:cubicBezTo>
                    <a:cubicBezTo>
                      <a:pt x="118" y="369"/>
                      <a:pt x="28" y="280"/>
                      <a:pt x="28" y="170"/>
                    </a:cubicBezTo>
                    <a:cubicBezTo>
                      <a:pt x="28" y="122"/>
                      <a:pt x="46" y="76"/>
                      <a:pt x="77" y="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6A2B2AC-A5F2-47EB-B6DE-5C040375544E}"/>
                </a:ext>
              </a:extLst>
            </p:cNvPr>
            <p:cNvGrpSpPr/>
            <p:nvPr/>
          </p:nvGrpSpPr>
          <p:grpSpPr>
            <a:xfrm>
              <a:off x="6713220" y="1922333"/>
              <a:ext cx="411480" cy="411480"/>
              <a:chOff x="6781800" y="1754925"/>
              <a:chExt cx="457200" cy="457200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A83238AD-A6B5-4201-91BC-CC99DAA24C09}"/>
                  </a:ext>
                </a:extLst>
              </p:cNvPr>
              <p:cNvSpPr/>
              <p:nvPr/>
            </p:nvSpPr>
            <p:spPr>
              <a:xfrm>
                <a:off x="6781800" y="1754925"/>
                <a:ext cx="457200" cy="4572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2">
                <a:extLst>
                  <a:ext uri="{FF2B5EF4-FFF2-40B4-BE49-F238E27FC236}">
                    <a16:creationId xmlns:a16="http://schemas.microsoft.com/office/drawing/2014/main" id="{32D0E6FF-48B6-4BA9-B7BB-1F340B1D2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0210" y="1863336"/>
                <a:ext cx="240380" cy="240379"/>
              </a:xfrm>
              <a:custGeom>
                <a:avLst/>
                <a:gdLst>
                  <a:gd name="T0" fmla="*/ 164 w 484"/>
                  <a:gd name="T1" fmla="*/ 381 h 485"/>
                  <a:gd name="T2" fmla="*/ 176 w 484"/>
                  <a:gd name="T3" fmla="*/ 393 h 485"/>
                  <a:gd name="T4" fmla="*/ 196 w 484"/>
                  <a:gd name="T5" fmla="*/ 373 h 485"/>
                  <a:gd name="T6" fmla="*/ 184 w 484"/>
                  <a:gd name="T7" fmla="*/ 361 h 485"/>
                  <a:gd name="T8" fmla="*/ 203 w 484"/>
                  <a:gd name="T9" fmla="*/ 342 h 485"/>
                  <a:gd name="T10" fmla="*/ 300 w 484"/>
                  <a:gd name="T11" fmla="*/ 369 h 485"/>
                  <a:gd name="T12" fmla="*/ 484 w 484"/>
                  <a:gd name="T13" fmla="*/ 185 h 485"/>
                  <a:gd name="T14" fmla="*/ 300 w 484"/>
                  <a:gd name="T15" fmla="*/ 0 h 485"/>
                  <a:gd name="T16" fmla="*/ 116 w 484"/>
                  <a:gd name="T17" fmla="*/ 185 h 485"/>
                  <a:gd name="T18" fmla="*/ 143 w 484"/>
                  <a:gd name="T19" fmla="*/ 282 h 485"/>
                  <a:gd name="T20" fmla="*/ 124 w 484"/>
                  <a:gd name="T21" fmla="*/ 301 h 485"/>
                  <a:gd name="T22" fmla="*/ 111 w 484"/>
                  <a:gd name="T23" fmla="*/ 288 h 485"/>
                  <a:gd name="T24" fmla="*/ 91 w 484"/>
                  <a:gd name="T25" fmla="*/ 308 h 485"/>
                  <a:gd name="T26" fmla="*/ 104 w 484"/>
                  <a:gd name="T27" fmla="*/ 321 h 485"/>
                  <a:gd name="T28" fmla="*/ 0 w 484"/>
                  <a:gd name="T29" fmla="*/ 425 h 485"/>
                  <a:gd name="T30" fmla="*/ 60 w 484"/>
                  <a:gd name="T31" fmla="*/ 485 h 485"/>
                  <a:gd name="T32" fmla="*/ 164 w 484"/>
                  <a:gd name="T33" fmla="*/ 381 h 485"/>
                  <a:gd name="T34" fmla="*/ 300 w 484"/>
                  <a:gd name="T35" fmla="*/ 29 h 485"/>
                  <a:gd name="T36" fmla="*/ 456 w 484"/>
                  <a:gd name="T37" fmla="*/ 185 h 485"/>
                  <a:gd name="T38" fmla="*/ 300 w 484"/>
                  <a:gd name="T39" fmla="*/ 341 h 485"/>
                  <a:gd name="T40" fmla="*/ 200 w 484"/>
                  <a:gd name="T41" fmla="*/ 305 h 485"/>
                  <a:gd name="T42" fmla="*/ 164 w 484"/>
                  <a:gd name="T43" fmla="*/ 341 h 485"/>
                  <a:gd name="T44" fmla="*/ 144 w 484"/>
                  <a:gd name="T45" fmla="*/ 321 h 485"/>
                  <a:gd name="T46" fmla="*/ 180 w 484"/>
                  <a:gd name="T47" fmla="*/ 285 h 485"/>
                  <a:gd name="T48" fmla="*/ 144 w 484"/>
                  <a:gd name="T49" fmla="*/ 185 h 485"/>
                  <a:gd name="T50" fmla="*/ 300 w 484"/>
                  <a:gd name="T51" fmla="*/ 29 h 485"/>
                  <a:gd name="T52" fmla="*/ 124 w 484"/>
                  <a:gd name="T53" fmla="*/ 341 h 485"/>
                  <a:gd name="T54" fmla="*/ 144 w 484"/>
                  <a:gd name="T55" fmla="*/ 361 h 485"/>
                  <a:gd name="T56" fmla="*/ 60 w 484"/>
                  <a:gd name="T57" fmla="*/ 445 h 485"/>
                  <a:gd name="T58" fmla="*/ 40 w 484"/>
                  <a:gd name="T59" fmla="*/ 425 h 485"/>
                  <a:gd name="T60" fmla="*/ 124 w 484"/>
                  <a:gd name="T61" fmla="*/ 341 h 485"/>
                  <a:gd name="T62" fmla="*/ 300 w 484"/>
                  <a:gd name="T63" fmla="*/ 313 h 485"/>
                  <a:gd name="T64" fmla="*/ 428 w 484"/>
                  <a:gd name="T65" fmla="*/ 185 h 485"/>
                  <a:gd name="T66" fmla="*/ 300 w 484"/>
                  <a:gd name="T67" fmla="*/ 57 h 485"/>
                  <a:gd name="T68" fmla="*/ 172 w 484"/>
                  <a:gd name="T69" fmla="*/ 185 h 485"/>
                  <a:gd name="T70" fmla="*/ 300 w 484"/>
                  <a:gd name="T71" fmla="*/ 313 h 485"/>
                  <a:gd name="T72" fmla="*/ 300 w 484"/>
                  <a:gd name="T73" fmla="*/ 86 h 485"/>
                  <a:gd name="T74" fmla="*/ 399 w 484"/>
                  <a:gd name="T75" fmla="*/ 185 h 485"/>
                  <a:gd name="T76" fmla="*/ 300 w 484"/>
                  <a:gd name="T77" fmla="*/ 284 h 485"/>
                  <a:gd name="T78" fmla="*/ 201 w 484"/>
                  <a:gd name="T79" fmla="*/ 185 h 485"/>
                  <a:gd name="T80" fmla="*/ 300 w 484"/>
                  <a:gd name="T81" fmla="*/ 86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4" h="485">
                    <a:moveTo>
                      <a:pt x="164" y="381"/>
                    </a:moveTo>
                    <a:cubicBezTo>
                      <a:pt x="176" y="393"/>
                      <a:pt x="176" y="393"/>
                      <a:pt x="176" y="393"/>
                    </a:cubicBezTo>
                    <a:cubicBezTo>
                      <a:pt x="196" y="373"/>
                      <a:pt x="196" y="373"/>
                      <a:pt x="196" y="373"/>
                    </a:cubicBezTo>
                    <a:cubicBezTo>
                      <a:pt x="184" y="361"/>
                      <a:pt x="184" y="361"/>
                      <a:pt x="184" y="361"/>
                    </a:cubicBezTo>
                    <a:cubicBezTo>
                      <a:pt x="203" y="342"/>
                      <a:pt x="203" y="342"/>
                      <a:pt x="203" y="342"/>
                    </a:cubicBezTo>
                    <a:cubicBezTo>
                      <a:pt x="232" y="360"/>
                      <a:pt x="265" y="369"/>
                      <a:pt x="300" y="369"/>
                    </a:cubicBezTo>
                    <a:cubicBezTo>
                      <a:pt x="402" y="369"/>
                      <a:pt x="484" y="287"/>
                      <a:pt x="484" y="185"/>
                    </a:cubicBezTo>
                    <a:cubicBezTo>
                      <a:pt x="484" y="83"/>
                      <a:pt x="402" y="0"/>
                      <a:pt x="300" y="0"/>
                    </a:cubicBezTo>
                    <a:cubicBezTo>
                      <a:pt x="198" y="0"/>
                      <a:pt x="116" y="83"/>
                      <a:pt x="116" y="185"/>
                    </a:cubicBezTo>
                    <a:cubicBezTo>
                      <a:pt x="116" y="219"/>
                      <a:pt x="125" y="253"/>
                      <a:pt x="143" y="282"/>
                    </a:cubicBezTo>
                    <a:cubicBezTo>
                      <a:pt x="124" y="301"/>
                      <a:pt x="124" y="301"/>
                      <a:pt x="124" y="301"/>
                    </a:cubicBezTo>
                    <a:cubicBezTo>
                      <a:pt x="111" y="288"/>
                      <a:pt x="111" y="288"/>
                      <a:pt x="111" y="288"/>
                    </a:cubicBezTo>
                    <a:cubicBezTo>
                      <a:pt x="91" y="308"/>
                      <a:pt x="91" y="308"/>
                      <a:pt x="91" y="308"/>
                    </a:cubicBezTo>
                    <a:cubicBezTo>
                      <a:pt x="104" y="321"/>
                      <a:pt x="104" y="321"/>
                      <a:pt x="104" y="321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60" y="485"/>
                      <a:pt x="60" y="485"/>
                      <a:pt x="60" y="485"/>
                    </a:cubicBezTo>
                    <a:lnTo>
                      <a:pt x="164" y="381"/>
                    </a:lnTo>
                    <a:close/>
                    <a:moveTo>
                      <a:pt x="300" y="29"/>
                    </a:moveTo>
                    <a:cubicBezTo>
                      <a:pt x="386" y="29"/>
                      <a:pt x="456" y="99"/>
                      <a:pt x="456" y="185"/>
                    </a:cubicBezTo>
                    <a:cubicBezTo>
                      <a:pt x="456" y="271"/>
                      <a:pt x="386" y="341"/>
                      <a:pt x="300" y="341"/>
                    </a:cubicBezTo>
                    <a:cubicBezTo>
                      <a:pt x="240" y="341"/>
                      <a:pt x="206" y="308"/>
                      <a:pt x="200" y="305"/>
                    </a:cubicBezTo>
                    <a:cubicBezTo>
                      <a:pt x="164" y="341"/>
                      <a:pt x="164" y="341"/>
                      <a:pt x="164" y="341"/>
                    </a:cubicBezTo>
                    <a:cubicBezTo>
                      <a:pt x="144" y="321"/>
                      <a:pt x="144" y="321"/>
                      <a:pt x="144" y="321"/>
                    </a:cubicBezTo>
                    <a:cubicBezTo>
                      <a:pt x="180" y="285"/>
                      <a:pt x="180" y="285"/>
                      <a:pt x="180" y="285"/>
                    </a:cubicBezTo>
                    <a:cubicBezTo>
                      <a:pt x="177" y="280"/>
                      <a:pt x="144" y="245"/>
                      <a:pt x="144" y="185"/>
                    </a:cubicBezTo>
                    <a:cubicBezTo>
                      <a:pt x="144" y="99"/>
                      <a:pt x="214" y="29"/>
                      <a:pt x="300" y="29"/>
                    </a:cubicBezTo>
                    <a:close/>
                    <a:moveTo>
                      <a:pt x="124" y="341"/>
                    </a:moveTo>
                    <a:cubicBezTo>
                      <a:pt x="144" y="361"/>
                      <a:pt x="144" y="361"/>
                      <a:pt x="144" y="361"/>
                    </a:cubicBezTo>
                    <a:cubicBezTo>
                      <a:pt x="60" y="445"/>
                      <a:pt x="60" y="445"/>
                      <a:pt x="60" y="445"/>
                    </a:cubicBezTo>
                    <a:cubicBezTo>
                      <a:pt x="40" y="425"/>
                      <a:pt x="40" y="425"/>
                      <a:pt x="40" y="425"/>
                    </a:cubicBezTo>
                    <a:lnTo>
                      <a:pt x="124" y="341"/>
                    </a:lnTo>
                    <a:close/>
                    <a:moveTo>
                      <a:pt x="300" y="313"/>
                    </a:moveTo>
                    <a:cubicBezTo>
                      <a:pt x="370" y="313"/>
                      <a:pt x="428" y="255"/>
                      <a:pt x="428" y="185"/>
                    </a:cubicBezTo>
                    <a:cubicBezTo>
                      <a:pt x="428" y="114"/>
                      <a:pt x="370" y="57"/>
                      <a:pt x="300" y="57"/>
                    </a:cubicBezTo>
                    <a:cubicBezTo>
                      <a:pt x="230" y="57"/>
                      <a:pt x="172" y="114"/>
                      <a:pt x="172" y="185"/>
                    </a:cubicBezTo>
                    <a:cubicBezTo>
                      <a:pt x="172" y="255"/>
                      <a:pt x="230" y="313"/>
                      <a:pt x="300" y="313"/>
                    </a:cubicBezTo>
                    <a:close/>
                    <a:moveTo>
                      <a:pt x="300" y="86"/>
                    </a:moveTo>
                    <a:cubicBezTo>
                      <a:pt x="355" y="86"/>
                      <a:pt x="399" y="130"/>
                      <a:pt x="399" y="185"/>
                    </a:cubicBezTo>
                    <a:cubicBezTo>
                      <a:pt x="399" y="240"/>
                      <a:pt x="355" y="284"/>
                      <a:pt x="300" y="284"/>
                    </a:cubicBezTo>
                    <a:cubicBezTo>
                      <a:pt x="245" y="284"/>
                      <a:pt x="201" y="240"/>
                      <a:pt x="201" y="185"/>
                    </a:cubicBezTo>
                    <a:cubicBezTo>
                      <a:pt x="201" y="130"/>
                      <a:pt x="245" y="86"/>
                      <a:pt x="300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4D53CA0-E209-4CC9-AF79-5383BCBA989D}"/>
                </a:ext>
              </a:extLst>
            </p:cNvPr>
            <p:cNvGrpSpPr/>
            <p:nvPr/>
          </p:nvGrpSpPr>
          <p:grpSpPr>
            <a:xfrm>
              <a:off x="7124699" y="5458427"/>
              <a:ext cx="411480" cy="411480"/>
              <a:chOff x="7238999" y="5683919"/>
              <a:chExt cx="457200" cy="457200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B22ED612-EE8B-4AF3-8963-6E5C51CF2629}"/>
                  </a:ext>
                </a:extLst>
              </p:cNvPr>
              <p:cNvSpPr/>
              <p:nvPr/>
            </p:nvSpPr>
            <p:spPr>
              <a:xfrm>
                <a:off x="7238999" y="5683919"/>
                <a:ext cx="457200" cy="45720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914D50B8-186B-48D0-92EC-D59958A1BE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4119" y="5752287"/>
                <a:ext cx="226959" cy="240378"/>
              </a:xfrm>
              <a:custGeom>
                <a:avLst/>
                <a:gdLst>
                  <a:gd name="T0" fmla="*/ 171 w 455"/>
                  <a:gd name="T1" fmla="*/ 0 h 484"/>
                  <a:gd name="T2" fmla="*/ 86 w 455"/>
                  <a:gd name="T3" fmla="*/ 320 h 484"/>
                  <a:gd name="T4" fmla="*/ 29 w 455"/>
                  <a:gd name="T5" fmla="*/ 371 h 484"/>
                  <a:gd name="T6" fmla="*/ 313 w 455"/>
                  <a:gd name="T7" fmla="*/ 484 h 484"/>
                  <a:gd name="T8" fmla="*/ 369 w 455"/>
                  <a:gd name="T9" fmla="*/ 456 h 484"/>
                  <a:gd name="T10" fmla="*/ 384 w 455"/>
                  <a:gd name="T11" fmla="*/ 428 h 484"/>
                  <a:gd name="T12" fmla="*/ 426 w 455"/>
                  <a:gd name="T13" fmla="*/ 197 h 484"/>
                  <a:gd name="T14" fmla="*/ 412 w 455"/>
                  <a:gd name="T15" fmla="*/ 115 h 484"/>
                  <a:gd name="T16" fmla="*/ 398 w 455"/>
                  <a:gd name="T17" fmla="*/ 197 h 484"/>
                  <a:gd name="T18" fmla="*/ 384 w 455"/>
                  <a:gd name="T19" fmla="*/ 399 h 484"/>
                  <a:gd name="T20" fmla="*/ 369 w 455"/>
                  <a:gd name="T21" fmla="*/ 371 h 484"/>
                  <a:gd name="T22" fmla="*/ 256 w 455"/>
                  <a:gd name="T23" fmla="*/ 320 h 484"/>
                  <a:gd name="T24" fmla="*/ 412 w 455"/>
                  <a:gd name="T25" fmla="*/ 143 h 484"/>
                  <a:gd name="T26" fmla="*/ 412 w 455"/>
                  <a:gd name="T27" fmla="*/ 171 h 484"/>
                  <a:gd name="T28" fmla="*/ 412 w 455"/>
                  <a:gd name="T29" fmla="*/ 143 h 484"/>
                  <a:gd name="T30" fmla="*/ 341 w 455"/>
                  <a:gd name="T31" fmla="*/ 399 h 484"/>
                  <a:gd name="T32" fmla="*/ 313 w 455"/>
                  <a:gd name="T33" fmla="*/ 428 h 484"/>
                  <a:gd name="T34" fmla="*/ 284 w 455"/>
                  <a:gd name="T35" fmla="*/ 399 h 484"/>
                  <a:gd name="T36" fmla="*/ 57 w 455"/>
                  <a:gd name="T37" fmla="*/ 456 h 484"/>
                  <a:gd name="T38" fmla="*/ 284 w 455"/>
                  <a:gd name="T39" fmla="*/ 399 h 484"/>
                  <a:gd name="T40" fmla="*/ 114 w 455"/>
                  <a:gd name="T41" fmla="*/ 333 h 484"/>
                  <a:gd name="T42" fmla="*/ 228 w 455"/>
                  <a:gd name="T43" fmla="*/ 333 h 484"/>
                  <a:gd name="T44" fmla="*/ 114 w 455"/>
                  <a:gd name="T45" fmla="*/ 371 h 484"/>
                  <a:gd name="T46" fmla="*/ 29 w 455"/>
                  <a:gd name="T47" fmla="*/ 171 h 484"/>
                  <a:gd name="T48" fmla="*/ 313 w 455"/>
                  <a:gd name="T49" fmla="*/ 171 h 484"/>
                  <a:gd name="T50" fmla="*/ 284 w 455"/>
                  <a:gd name="T51" fmla="*/ 171 h 484"/>
                  <a:gd name="T52" fmla="*/ 171 w 455"/>
                  <a:gd name="T53" fmla="*/ 85 h 484"/>
                  <a:gd name="T54" fmla="*/ 284 w 455"/>
                  <a:gd name="T55" fmla="*/ 171 h 484"/>
                  <a:gd name="T56" fmla="*/ 114 w 455"/>
                  <a:gd name="T57" fmla="*/ 171 h 484"/>
                  <a:gd name="T58" fmla="*/ 228 w 455"/>
                  <a:gd name="T59" fmla="*/ 171 h 484"/>
                  <a:gd name="T60" fmla="*/ 171 w 455"/>
                  <a:gd name="T61" fmla="*/ 200 h 484"/>
                  <a:gd name="T62" fmla="*/ 171 w 455"/>
                  <a:gd name="T63" fmla="*/ 143 h 484"/>
                  <a:gd name="T64" fmla="*/ 171 w 455"/>
                  <a:gd name="T65" fmla="*/ 20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5" h="484">
                    <a:moveTo>
                      <a:pt x="341" y="171"/>
                    </a:moveTo>
                    <a:cubicBezTo>
                      <a:pt x="341" y="77"/>
                      <a:pt x="265" y="0"/>
                      <a:pt x="171" y="0"/>
                    </a:cubicBezTo>
                    <a:cubicBezTo>
                      <a:pt x="77" y="0"/>
                      <a:pt x="0" y="77"/>
                      <a:pt x="0" y="171"/>
                    </a:cubicBezTo>
                    <a:cubicBezTo>
                      <a:pt x="0" y="235"/>
                      <a:pt x="35" y="290"/>
                      <a:pt x="86" y="320"/>
                    </a:cubicBezTo>
                    <a:cubicBezTo>
                      <a:pt x="86" y="371"/>
                      <a:pt x="86" y="371"/>
                      <a:pt x="86" y="371"/>
                    </a:cubicBezTo>
                    <a:cubicBezTo>
                      <a:pt x="29" y="371"/>
                      <a:pt x="29" y="371"/>
                      <a:pt x="29" y="371"/>
                    </a:cubicBezTo>
                    <a:cubicBezTo>
                      <a:pt x="29" y="484"/>
                      <a:pt x="29" y="484"/>
                      <a:pt x="29" y="484"/>
                    </a:cubicBezTo>
                    <a:cubicBezTo>
                      <a:pt x="313" y="484"/>
                      <a:pt x="313" y="484"/>
                      <a:pt x="313" y="484"/>
                    </a:cubicBezTo>
                    <a:cubicBezTo>
                      <a:pt x="313" y="456"/>
                      <a:pt x="313" y="456"/>
                      <a:pt x="313" y="456"/>
                    </a:cubicBezTo>
                    <a:cubicBezTo>
                      <a:pt x="369" y="456"/>
                      <a:pt x="369" y="456"/>
                      <a:pt x="369" y="456"/>
                    </a:cubicBezTo>
                    <a:cubicBezTo>
                      <a:pt x="369" y="428"/>
                      <a:pt x="369" y="428"/>
                      <a:pt x="369" y="428"/>
                    </a:cubicBezTo>
                    <a:cubicBezTo>
                      <a:pt x="384" y="428"/>
                      <a:pt x="384" y="428"/>
                      <a:pt x="384" y="428"/>
                    </a:cubicBezTo>
                    <a:cubicBezTo>
                      <a:pt x="407" y="428"/>
                      <a:pt x="426" y="409"/>
                      <a:pt x="426" y="385"/>
                    </a:cubicBezTo>
                    <a:cubicBezTo>
                      <a:pt x="426" y="197"/>
                      <a:pt x="426" y="197"/>
                      <a:pt x="426" y="197"/>
                    </a:cubicBezTo>
                    <a:cubicBezTo>
                      <a:pt x="443" y="191"/>
                      <a:pt x="455" y="176"/>
                      <a:pt x="455" y="157"/>
                    </a:cubicBezTo>
                    <a:cubicBezTo>
                      <a:pt x="455" y="134"/>
                      <a:pt x="435" y="115"/>
                      <a:pt x="412" y="115"/>
                    </a:cubicBezTo>
                    <a:cubicBezTo>
                      <a:pt x="388" y="115"/>
                      <a:pt x="369" y="134"/>
                      <a:pt x="369" y="157"/>
                    </a:cubicBezTo>
                    <a:cubicBezTo>
                      <a:pt x="369" y="176"/>
                      <a:pt x="381" y="191"/>
                      <a:pt x="398" y="197"/>
                    </a:cubicBezTo>
                    <a:cubicBezTo>
                      <a:pt x="398" y="385"/>
                      <a:pt x="398" y="385"/>
                      <a:pt x="398" y="385"/>
                    </a:cubicBezTo>
                    <a:cubicBezTo>
                      <a:pt x="398" y="393"/>
                      <a:pt x="391" y="399"/>
                      <a:pt x="384" y="399"/>
                    </a:cubicBezTo>
                    <a:cubicBezTo>
                      <a:pt x="369" y="399"/>
                      <a:pt x="369" y="399"/>
                      <a:pt x="369" y="399"/>
                    </a:cubicBezTo>
                    <a:cubicBezTo>
                      <a:pt x="369" y="371"/>
                      <a:pt x="369" y="371"/>
                      <a:pt x="369" y="371"/>
                    </a:cubicBezTo>
                    <a:cubicBezTo>
                      <a:pt x="349" y="371"/>
                      <a:pt x="280" y="371"/>
                      <a:pt x="256" y="371"/>
                    </a:cubicBezTo>
                    <a:cubicBezTo>
                      <a:pt x="256" y="320"/>
                      <a:pt x="256" y="320"/>
                      <a:pt x="256" y="320"/>
                    </a:cubicBezTo>
                    <a:cubicBezTo>
                      <a:pt x="307" y="290"/>
                      <a:pt x="341" y="235"/>
                      <a:pt x="341" y="171"/>
                    </a:cubicBezTo>
                    <a:close/>
                    <a:moveTo>
                      <a:pt x="412" y="143"/>
                    </a:moveTo>
                    <a:cubicBezTo>
                      <a:pt x="420" y="143"/>
                      <a:pt x="426" y="149"/>
                      <a:pt x="426" y="157"/>
                    </a:cubicBezTo>
                    <a:cubicBezTo>
                      <a:pt x="426" y="165"/>
                      <a:pt x="420" y="171"/>
                      <a:pt x="412" y="171"/>
                    </a:cubicBezTo>
                    <a:cubicBezTo>
                      <a:pt x="404" y="171"/>
                      <a:pt x="398" y="165"/>
                      <a:pt x="398" y="157"/>
                    </a:cubicBezTo>
                    <a:cubicBezTo>
                      <a:pt x="398" y="149"/>
                      <a:pt x="404" y="143"/>
                      <a:pt x="412" y="143"/>
                    </a:cubicBezTo>
                    <a:close/>
                    <a:moveTo>
                      <a:pt x="313" y="399"/>
                    </a:moveTo>
                    <a:cubicBezTo>
                      <a:pt x="341" y="399"/>
                      <a:pt x="341" y="399"/>
                      <a:pt x="341" y="399"/>
                    </a:cubicBezTo>
                    <a:cubicBezTo>
                      <a:pt x="341" y="428"/>
                      <a:pt x="341" y="428"/>
                      <a:pt x="341" y="428"/>
                    </a:cubicBezTo>
                    <a:cubicBezTo>
                      <a:pt x="313" y="428"/>
                      <a:pt x="313" y="428"/>
                      <a:pt x="313" y="428"/>
                    </a:cubicBezTo>
                    <a:lnTo>
                      <a:pt x="313" y="399"/>
                    </a:lnTo>
                    <a:close/>
                    <a:moveTo>
                      <a:pt x="284" y="399"/>
                    </a:moveTo>
                    <a:cubicBezTo>
                      <a:pt x="284" y="456"/>
                      <a:pt x="284" y="456"/>
                      <a:pt x="284" y="456"/>
                    </a:cubicBezTo>
                    <a:cubicBezTo>
                      <a:pt x="57" y="456"/>
                      <a:pt x="57" y="456"/>
                      <a:pt x="57" y="456"/>
                    </a:cubicBezTo>
                    <a:cubicBezTo>
                      <a:pt x="57" y="399"/>
                      <a:pt x="57" y="399"/>
                      <a:pt x="57" y="399"/>
                    </a:cubicBezTo>
                    <a:lnTo>
                      <a:pt x="284" y="399"/>
                    </a:lnTo>
                    <a:close/>
                    <a:moveTo>
                      <a:pt x="114" y="371"/>
                    </a:moveTo>
                    <a:cubicBezTo>
                      <a:pt x="114" y="333"/>
                      <a:pt x="114" y="333"/>
                      <a:pt x="114" y="333"/>
                    </a:cubicBezTo>
                    <a:cubicBezTo>
                      <a:pt x="132" y="339"/>
                      <a:pt x="151" y="343"/>
                      <a:pt x="171" y="343"/>
                    </a:cubicBezTo>
                    <a:cubicBezTo>
                      <a:pt x="191" y="343"/>
                      <a:pt x="210" y="339"/>
                      <a:pt x="228" y="333"/>
                    </a:cubicBezTo>
                    <a:cubicBezTo>
                      <a:pt x="228" y="371"/>
                      <a:pt x="228" y="371"/>
                      <a:pt x="228" y="371"/>
                    </a:cubicBezTo>
                    <a:lnTo>
                      <a:pt x="114" y="371"/>
                    </a:lnTo>
                    <a:close/>
                    <a:moveTo>
                      <a:pt x="171" y="314"/>
                    </a:moveTo>
                    <a:cubicBezTo>
                      <a:pt x="93" y="314"/>
                      <a:pt x="29" y="250"/>
                      <a:pt x="29" y="171"/>
                    </a:cubicBezTo>
                    <a:cubicBezTo>
                      <a:pt x="29" y="93"/>
                      <a:pt x="93" y="29"/>
                      <a:pt x="171" y="29"/>
                    </a:cubicBezTo>
                    <a:cubicBezTo>
                      <a:pt x="249" y="29"/>
                      <a:pt x="313" y="93"/>
                      <a:pt x="313" y="171"/>
                    </a:cubicBezTo>
                    <a:cubicBezTo>
                      <a:pt x="313" y="250"/>
                      <a:pt x="249" y="314"/>
                      <a:pt x="171" y="314"/>
                    </a:cubicBezTo>
                    <a:close/>
                    <a:moveTo>
                      <a:pt x="284" y="171"/>
                    </a:moveTo>
                    <a:cubicBezTo>
                      <a:pt x="256" y="171"/>
                      <a:pt x="256" y="171"/>
                      <a:pt x="256" y="171"/>
                    </a:cubicBezTo>
                    <a:cubicBezTo>
                      <a:pt x="256" y="124"/>
                      <a:pt x="218" y="85"/>
                      <a:pt x="171" y="85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233" y="57"/>
                      <a:pt x="284" y="109"/>
                      <a:pt x="284" y="171"/>
                    </a:cubicBezTo>
                    <a:close/>
                    <a:moveTo>
                      <a:pt x="171" y="115"/>
                    </a:moveTo>
                    <a:cubicBezTo>
                      <a:pt x="139" y="115"/>
                      <a:pt x="114" y="140"/>
                      <a:pt x="114" y="171"/>
                    </a:cubicBezTo>
                    <a:cubicBezTo>
                      <a:pt x="114" y="203"/>
                      <a:pt x="139" y="228"/>
                      <a:pt x="171" y="228"/>
                    </a:cubicBezTo>
                    <a:cubicBezTo>
                      <a:pt x="202" y="228"/>
                      <a:pt x="228" y="203"/>
                      <a:pt x="228" y="171"/>
                    </a:cubicBezTo>
                    <a:cubicBezTo>
                      <a:pt x="228" y="140"/>
                      <a:pt x="202" y="115"/>
                      <a:pt x="171" y="115"/>
                    </a:cubicBezTo>
                    <a:close/>
                    <a:moveTo>
                      <a:pt x="171" y="200"/>
                    </a:moveTo>
                    <a:cubicBezTo>
                      <a:pt x="155" y="200"/>
                      <a:pt x="142" y="187"/>
                      <a:pt x="142" y="171"/>
                    </a:cubicBezTo>
                    <a:cubicBezTo>
                      <a:pt x="142" y="156"/>
                      <a:pt x="155" y="143"/>
                      <a:pt x="171" y="143"/>
                    </a:cubicBezTo>
                    <a:cubicBezTo>
                      <a:pt x="186" y="143"/>
                      <a:pt x="199" y="156"/>
                      <a:pt x="199" y="171"/>
                    </a:cubicBezTo>
                    <a:cubicBezTo>
                      <a:pt x="199" y="187"/>
                      <a:pt x="186" y="200"/>
                      <a:pt x="171" y="2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3416966-C203-4FFA-B667-82AC720C84E0}"/>
                </a:ext>
              </a:extLst>
            </p:cNvPr>
            <p:cNvGrpSpPr/>
            <p:nvPr/>
          </p:nvGrpSpPr>
          <p:grpSpPr>
            <a:xfrm>
              <a:off x="6612811" y="4417537"/>
              <a:ext cx="445800" cy="418428"/>
              <a:chOff x="6670230" y="4527375"/>
              <a:chExt cx="495333" cy="46492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52604969-A633-4B58-AE20-4728AEA37D41}"/>
                  </a:ext>
                </a:extLst>
              </p:cNvPr>
              <p:cNvSpPr/>
              <p:nvPr/>
            </p:nvSpPr>
            <p:spPr>
              <a:xfrm>
                <a:off x="6670230" y="4527375"/>
                <a:ext cx="495333" cy="46492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42">
                <a:extLst>
                  <a:ext uri="{FF2B5EF4-FFF2-40B4-BE49-F238E27FC236}">
                    <a16:creationId xmlns:a16="http://schemas.microsoft.com/office/drawing/2014/main" id="{92471433-6630-4011-9E5F-178C45D745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4199" y="4616310"/>
                <a:ext cx="184250" cy="240381"/>
              </a:xfrm>
              <a:custGeom>
                <a:avLst/>
                <a:gdLst>
                  <a:gd name="T0" fmla="*/ 311 w 369"/>
                  <a:gd name="T1" fmla="*/ 484 h 484"/>
                  <a:gd name="T2" fmla="*/ 340 w 369"/>
                  <a:gd name="T3" fmla="*/ 142 h 484"/>
                  <a:gd name="T4" fmla="*/ 369 w 369"/>
                  <a:gd name="T5" fmla="*/ 142 h 484"/>
                  <a:gd name="T6" fmla="*/ 369 w 369"/>
                  <a:gd name="T7" fmla="*/ 57 h 484"/>
                  <a:gd name="T8" fmla="*/ 335 w 369"/>
                  <a:gd name="T9" fmla="*/ 57 h 484"/>
                  <a:gd name="T10" fmla="*/ 307 w 369"/>
                  <a:gd name="T11" fmla="*/ 0 h 484"/>
                  <a:gd name="T12" fmla="*/ 62 w 369"/>
                  <a:gd name="T13" fmla="*/ 0 h 484"/>
                  <a:gd name="T14" fmla="*/ 34 w 369"/>
                  <a:gd name="T15" fmla="*/ 57 h 484"/>
                  <a:gd name="T16" fmla="*/ 0 w 369"/>
                  <a:gd name="T17" fmla="*/ 57 h 484"/>
                  <a:gd name="T18" fmla="*/ 0 w 369"/>
                  <a:gd name="T19" fmla="*/ 142 h 484"/>
                  <a:gd name="T20" fmla="*/ 30 w 369"/>
                  <a:gd name="T21" fmla="*/ 142 h 484"/>
                  <a:gd name="T22" fmla="*/ 58 w 369"/>
                  <a:gd name="T23" fmla="*/ 484 h 484"/>
                  <a:gd name="T24" fmla="*/ 311 w 369"/>
                  <a:gd name="T25" fmla="*/ 484 h 484"/>
                  <a:gd name="T26" fmla="*/ 285 w 369"/>
                  <a:gd name="T27" fmla="*/ 456 h 484"/>
                  <a:gd name="T28" fmla="*/ 84 w 369"/>
                  <a:gd name="T29" fmla="*/ 456 h 484"/>
                  <a:gd name="T30" fmla="*/ 80 w 369"/>
                  <a:gd name="T31" fmla="*/ 398 h 484"/>
                  <a:gd name="T32" fmla="*/ 290 w 369"/>
                  <a:gd name="T33" fmla="*/ 398 h 484"/>
                  <a:gd name="T34" fmla="*/ 285 w 369"/>
                  <a:gd name="T35" fmla="*/ 456 h 484"/>
                  <a:gd name="T36" fmla="*/ 292 w 369"/>
                  <a:gd name="T37" fmla="*/ 370 h 484"/>
                  <a:gd name="T38" fmla="*/ 77 w 369"/>
                  <a:gd name="T39" fmla="*/ 370 h 484"/>
                  <a:gd name="T40" fmla="*/ 65 w 369"/>
                  <a:gd name="T41" fmla="*/ 228 h 484"/>
                  <a:gd name="T42" fmla="*/ 304 w 369"/>
                  <a:gd name="T43" fmla="*/ 228 h 484"/>
                  <a:gd name="T44" fmla="*/ 292 w 369"/>
                  <a:gd name="T45" fmla="*/ 370 h 484"/>
                  <a:gd name="T46" fmla="*/ 306 w 369"/>
                  <a:gd name="T47" fmla="*/ 200 h 484"/>
                  <a:gd name="T48" fmla="*/ 63 w 369"/>
                  <a:gd name="T49" fmla="*/ 200 h 484"/>
                  <a:gd name="T50" fmla="*/ 58 w 369"/>
                  <a:gd name="T51" fmla="*/ 142 h 484"/>
                  <a:gd name="T52" fmla="*/ 311 w 369"/>
                  <a:gd name="T53" fmla="*/ 142 h 484"/>
                  <a:gd name="T54" fmla="*/ 306 w 369"/>
                  <a:gd name="T55" fmla="*/ 200 h 484"/>
                  <a:gd name="T56" fmla="*/ 80 w 369"/>
                  <a:gd name="T57" fmla="*/ 29 h 484"/>
                  <a:gd name="T58" fmla="*/ 290 w 369"/>
                  <a:gd name="T59" fmla="*/ 29 h 484"/>
                  <a:gd name="T60" fmla="*/ 304 w 369"/>
                  <a:gd name="T61" fmla="*/ 57 h 484"/>
                  <a:gd name="T62" fmla="*/ 66 w 369"/>
                  <a:gd name="T63" fmla="*/ 57 h 484"/>
                  <a:gd name="T64" fmla="*/ 80 w 369"/>
                  <a:gd name="T65" fmla="*/ 29 h 484"/>
                  <a:gd name="T66" fmla="*/ 29 w 369"/>
                  <a:gd name="T67" fmla="*/ 114 h 484"/>
                  <a:gd name="T68" fmla="*/ 29 w 369"/>
                  <a:gd name="T69" fmla="*/ 85 h 484"/>
                  <a:gd name="T70" fmla="*/ 341 w 369"/>
                  <a:gd name="T71" fmla="*/ 85 h 484"/>
                  <a:gd name="T72" fmla="*/ 341 w 369"/>
                  <a:gd name="T73" fmla="*/ 114 h 484"/>
                  <a:gd name="T74" fmla="*/ 29 w 369"/>
                  <a:gd name="T75" fmla="*/ 114 h 484"/>
                  <a:gd name="T76" fmla="*/ 185 w 369"/>
                  <a:gd name="T77" fmla="*/ 342 h 484"/>
                  <a:gd name="T78" fmla="*/ 227 w 369"/>
                  <a:gd name="T79" fmla="*/ 299 h 484"/>
                  <a:gd name="T80" fmla="*/ 185 w 369"/>
                  <a:gd name="T81" fmla="*/ 256 h 484"/>
                  <a:gd name="T82" fmla="*/ 142 w 369"/>
                  <a:gd name="T83" fmla="*/ 299 h 484"/>
                  <a:gd name="T84" fmla="*/ 185 w 369"/>
                  <a:gd name="T85" fmla="*/ 342 h 484"/>
                  <a:gd name="T86" fmla="*/ 185 w 369"/>
                  <a:gd name="T87" fmla="*/ 285 h 484"/>
                  <a:gd name="T88" fmla="*/ 199 w 369"/>
                  <a:gd name="T89" fmla="*/ 299 h 484"/>
                  <a:gd name="T90" fmla="*/ 185 w 369"/>
                  <a:gd name="T91" fmla="*/ 313 h 484"/>
                  <a:gd name="T92" fmla="*/ 171 w 369"/>
                  <a:gd name="T93" fmla="*/ 299 h 484"/>
                  <a:gd name="T94" fmla="*/ 185 w 369"/>
                  <a:gd name="T95" fmla="*/ 285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9" h="484">
                    <a:moveTo>
                      <a:pt x="311" y="484"/>
                    </a:moveTo>
                    <a:cubicBezTo>
                      <a:pt x="340" y="142"/>
                      <a:pt x="340" y="142"/>
                      <a:pt x="340" y="142"/>
                    </a:cubicBezTo>
                    <a:cubicBezTo>
                      <a:pt x="369" y="142"/>
                      <a:pt x="369" y="142"/>
                      <a:pt x="369" y="142"/>
                    </a:cubicBezTo>
                    <a:cubicBezTo>
                      <a:pt x="369" y="57"/>
                      <a:pt x="369" y="57"/>
                      <a:pt x="369" y="57"/>
                    </a:cubicBezTo>
                    <a:cubicBezTo>
                      <a:pt x="335" y="57"/>
                      <a:pt x="335" y="57"/>
                      <a:pt x="335" y="57"/>
                    </a:cubicBezTo>
                    <a:cubicBezTo>
                      <a:pt x="307" y="0"/>
                      <a:pt x="307" y="0"/>
                      <a:pt x="307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30" y="142"/>
                      <a:pt x="30" y="142"/>
                      <a:pt x="30" y="142"/>
                    </a:cubicBezTo>
                    <a:cubicBezTo>
                      <a:pt x="58" y="484"/>
                      <a:pt x="58" y="484"/>
                      <a:pt x="58" y="484"/>
                    </a:cubicBezTo>
                    <a:lnTo>
                      <a:pt x="311" y="484"/>
                    </a:lnTo>
                    <a:close/>
                    <a:moveTo>
                      <a:pt x="285" y="456"/>
                    </a:moveTo>
                    <a:cubicBezTo>
                      <a:pt x="84" y="456"/>
                      <a:pt x="84" y="456"/>
                      <a:pt x="84" y="456"/>
                    </a:cubicBezTo>
                    <a:cubicBezTo>
                      <a:pt x="80" y="398"/>
                      <a:pt x="80" y="398"/>
                      <a:pt x="80" y="398"/>
                    </a:cubicBezTo>
                    <a:cubicBezTo>
                      <a:pt x="290" y="398"/>
                      <a:pt x="290" y="398"/>
                      <a:pt x="290" y="398"/>
                    </a:cubicBezTo>
                    <a:lnTo>
                      <a:pt x="285" y="456"/>
                    </a:lnTo>
                    <a:close/>
                    <a:moveTo>
                      <a:pt x="292" y="370"/>
                    </a:moveTo>
                    <a:cubicBezTo>
                      <a:pt x="77" y="370"/>
                      <a:pt x="77" y="370"/>
                      <a:pt x="77" y="370"/>
                    </a:cubicBezTo>
                    <a:cubicBezTo>
                      <a:pt x="65" y="228"/>
                      <a:pt x="65" y="228"/>
                      <a:pt x="65" y="228"/>
                    </a:cubicBezTo>
                    <a:cubicBezTo>
                      <a:pt x="304" y="228"/>
                      <a:pt x="304" y="228"/>
                      <a:pt x="304" y="228"/>
                    </a:cubicBezTo>
                    <a:lnTo>
                      <a:pt x="292" y="370"/>
                    </a:lnTo>
                    <a:close/>
                    <a:moveTo>
                      <a:pt x="306" y="200"/>
                    </a:moveTo>
                    <a:cubicBezTo>
                      <a:pt x="63" y="200"/>
                      <a:pt x="63" y="200"/>
                      <a:pt x="63" y="200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311" y="142"/>
                      <a:pt x="311" y="142"/>
                      <a:pt x="311" y="142"/>
                    </a:cubicBezTo>
                    <a:lnTo>
                      <a:pt x="306" y="200"/>
                    </a:lnTo>
                    <a:close/>
                    <a:moveTo>
                      <a:pt x="80" y="29"/>
                    </a:moveTo>
                    <a:cubicBezTo>
                      <a:pt x="290" y="29"/>
                      <a:pt x="290" y="29"/>
                      <a:pt x="290" y="29"/>
                    </a:cubicBezTo>
                    <a:cubicBezTo>
                      <a:pt x="304" y="57"/>
                      <a:pt x="304" y="57"/>
                      <a:pt x="304" y="57"/>
                    </a:cubicBezTo>
                    <a:cubicBezTo>
                      <a:pt x="66" y="57"/>
                      <a:pt x="66" y="57"/>
                      <a:pt x="66" y="57"/>
                    </a:cubicBezTo>
                    <a:lnTo>
                      <a:pt x="80" y="29"/>
                    </a:lnTo>
                    <a:close/>
                    <a:moveTo>
                      <a:pt x="29" y="114"/>
                    </a:moveTo>
                    <a:cubicBezTo>
                      <a:pt x="29" y="85"/>
                      <a:pt x="29" y="85"/>
                      <a:pt x="29" y="85"/>
                    </a:cubicBezTo>
                    <a:cubicBezTo>
                      <a:pt x="341" y="85"/>
                      <a:pt x="341" y="85"/>
                      <a:pt x="341" y="85"/>
                    </a:cubicBezTo>
                    <a:cubicBezTo>
                      <a:pt x="341" y="114"/>
                      <a:pt x="341" y="114"/>
                      <a:pt x="341" y="114"/>
                    </a:cubicBezTo>
                    <a:lnTo>
                      <a:pt x="29" y="114"/>
                    </a:lnTo>
                    <a:close/>
                    <a:moveTo>
                      <a:pt x="185" y="342"/>
                    </a:moveTo>
                    <a:cubicBezTo>
                      <a:pt x="208" y="342"/>
                      <a:pt x="227" y="323"/>
                      <a:pt x="227" y="299"/>
                    </a:cubicBezTo>
                    <a:cubicBezTo>
                      <a:pt x="227" y="276"/>
                      <a:pt x="208" y="256"/>
                      <a:pt x="185" y="256"/>
                    </a:cubicBezTo>
                    <a:cubicBezTo>
                      <a:pt x="161" y="256"/>
                      <a:pt x="142" y="276"/>
                      <a:pt x="142" y="299"/>
                    </a:cubicBezTo>
                    <a:cubicBezTo>
                      <a:pt x="142" y="323"/>
                      <a:pt x="161" y="342"/>
                      <a:pt x="185" y="342"/>
                    </a:cubicBezTo>
                    <a:close/>
                    <a:moveTo>
                      <a:pt x="185" y="285"/>
                    </a:moveTo>
                    <a:cubicBezTo>
                      <a:pt x="193" y="285"/>
                      <a:pt x="199" y="291"/>
                      <a:pt x="199" y="299"/>
                    </a:cubicBezTo>
                    <a:cubicBezTo>
                      <a:pt x="199" y="307"/>
                      <a:pt x="193" y="313"/>
                      <a:pt x="185" y="313"/>
                    </a:cubicBezTo>
                    <a:cubicBezTo>
                      <a:pt x="177" y="313"/>
                      <a:pt x="171" y="307"/>
                      <a:pt x="171" y="299"/>
                    </a:cubicBezTo>
                    <a:cubicBezTo>
                      <a:pt x="171" y="291"/>
                      <a:pt x="177" y="285"/>
                      <a:pt x="185" y="28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1D7AE28-7F22-4B5D-88A9-7CBA51BBF1C3}"/>
                </a:ext>
              </a:extLst>
            </p:cNvPr>
            <p:cNvGrpSpPr/>
            <p:nvPr/>
          </p:nvGrpSpPr>
          <p:grpSpPr>
            <a:xfrm>
              <a:off x="1282302" y="2157419"/>
              <a:ext cx="2926082" cy="4106030"/>
              <a:chOff x="747447" y="2016132"/>
              <a:chExt cx="3251202" cy="4562256"/>
            </a:xfrm>
          </p:grpSpPr>
          <p:sp>
            <p:nvSpPr>
              <p:cNvPr id="25" name="Freeform 20">
                <a:extLst>
                  <a:ext uri="{FF2B5EF4-FFF2-40B4-BE49-F238E27FC236}">
                    <a16:creationId xmlns:a16="http://schemas.microsoft.com/office/drawing/2014/main" id="{142D6E2B-DB82-411A-A363-59E5F9AB0241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224412" y="5802978"/>
                <a:ext cx="774237" cy="775410"/>
              </a:xfrm>
              <a:custGeom>
                <a:avLst/>
                <a:gdLst>
                  <a:gd name="T0" fmla="*/ 385 w 404"/>
                  <a:gd name="T1" fmla="*/ 165 h 404"/>
                  <a:gd name="T2" fmla="*/ 385 w 404"/>
                  <a:gd name="T3" fmla="*/ 231 h 404"/>
                  <a:gd name="T4" fmla="*/ 231 w 404"/>
                  <a:gd name="T5" fmla="*/ 386 h 404"/>
                  <a:gd name="T6" fmla="*/ 165 w 404"/>
                  <a:gd name="T7" fmla="*/ 386 h 404"/>
                  <a:gd name="T8" fmla="*/ 18 w 404"/>
                  <a:gd name="T9" fmla="*/ 239 h 404"/>
                  <a:gd name="T10" fmla="*/ 18 w 404"/>
                  <a:gd name="T11" fmla="*/ 173 h 404"/>
                  <a:gd name="T12" fmla="*/ 173 w 404"/>
                  <a:gd name="T13" fmla="*/ 19 h 404"/>
                  <a:gd name="T14" fmla="*/ 239 w 404"/>
                  <a:gd name="T15" fmla="*/ 19 h 404"/>
                  <a:gd name="T16" fmla="*/ 385 w 404"/>
                  <a:gd name="T17" fmla="*/ 165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4" h="404">
                    <a:moveTo>
                      <a:pt x="385" y="165"/>
                    </a:moveTo>
                    <a:cubicBezTo>
                      <a:pt x="404" y="183"/>
                      <a:pt x="404" y="213"/>
                      <a:pt x="385" y="231"/>
                    </a:cubicBezTo>
                    <a:cubicBezTo>
                      <a:pt x="231" y="386"/>
                      <a:pt x="231" y="386"/>
                      <a:pt x="231" y="386"/>
                    </a:cubicBezTo>
                    <a:cubicBezTo>
                      <a:pt x="213" y="404"/>
                      <a:pt x="183" y="404"/>
                      <a:pt x="165" y="386"/>
                    </a:cubicBezTo>
                    <a:cubicBezTo>
                      <a:pt x="18" y="239"/>
                      <a:pt x="18" y="239"/>
                      <a:pt x="18" y="239"/>
                    </a:cubicBezTo>
                    <a:cubicBezTo>
                      <a:pt x="0" y="221"/>
                      <a:pt x="0" y="191"/>
                      <a:pt x="18" y="173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91" y="0"/>
                      <a:pt x="221" y="0"/>
                      <a:pt x="239" y="19"/>
                    </a:cubicBezTo>
                    <a:cubicBezTo>
                      <a:pt x="385" y="165"/>
                      <a:pt x="385" y="165"/>
                      <a:pt x="385" y="165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21">
                <a:extLst>
                  <a:ext uri="{FF2B5EF4-FFF2-40B4-BE49-F238E27FC236}">
                    <a16:creationId xmlns:a16="http://schemas.microsoft.com/office/drawing/2014/main" id="{613DA1B0-5689-4160-B4EE-CCCB6E57C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767640" y="2068489"/>
                <a:ext cx="785968" cy="802391"/>
              </a:xfrm>
              <a:custGeom>
                <a:avLst/>
                <a:gdLst>
                  <a:gd name="T0" fmla="*/ 312 w 670"/>
                  <a:gd name="T1" fmla="*/ 669 h 684"/>
                  <a:gd name="T2" fmla="*/ 0 w 670"/>
                  <a:gd name="T3" fmla="*/ 0 h 684"/>
                  <a:gd name="T4" fmla="*/ 670 w 670"/>
                  <a:gd name="T5" fmla="*/ 313 h 684"/>
                  <a:gd name="T6" fmla="*/ 667 w 670"/>
                  <a:gd name="T7" fmla="*/ 438 h 684"/>
                  <a:gd name="T8" fmla="*/ 324 w 670"/>
                  <a:gd name="T9" fmla="*/ 684 h 684"/>
                  <a:gd name="T10" fmla="*/ 312 w 670"/>
                  <a:gd name="T11" fmla="*/ 669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0" h="684">
                    <a:moveTo>
                      <a:pt x="312" y="669"/>
                    </a:moveTo>
                    <a:lnTo>
                      <a:pt x="0" y="0"/>
                    </a:lnTo>
                    <a:lnTo>
                      <a:pt x="670" y="313"/>
                    </a:lnTo>
                    <a:lnTo>
                      <a:pt x="667" y="438"/>
                    </a:lnTo>
                    <a:lnTo>
                      <a:pt x="324" y="684"/>
                    </a:lnTo>
                    <a:lnTo>
                      <a:pt x="312" y="669"/>
                    </a:lnTo>
                    <a:close/>
                  </a:path>
                </a:pathLst>
              </a:custGeom>
              <a:solidFill>
                <a:srgbClr val="FFD0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22">
                <a:extLst>
                  <a:ext uri="{FF2B5EF4-FFF2-40B4-BE49-F238E27FC236}">
                    <a16:creationId xmlns:a16="http://schemas.microsoft.com/office/drawing/2014/main" id="{8B6B3FF2-72FA-42BA-A1B2-F7BD2B90EA04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767640" y="2068489"/>
                <a:ext cx="785968" cy="802391"/>
              </a:xfrm>
              <a:custGeom>
                <a:avLst/>
                <a:gdLst>
                  <a:gd name="T0" fmla="*/ 312 w 670"/>
                  <a:gd name="T1" fmla="*/ 669 h 684"/>
                  <a:gd name="T2" fmla="*/ 0 w 670"/>
                  <a:gd name="T3" fmla="*/ 0 h 684"/>
                  <a:gd name="T4" fmla="*/ 670 w 670"/>
                  <a:gd name="T5" fmla="*/ 313 h 684"/>
                  <a:gd name="T6" fmla="*/ 667 w 670"/>
                  <a:gd name="T7" fmla="*/ 438 h 684"/>
                  <a:gd name="T8" fmla="*/ 324 w 670"/>
                  <a:gd name="T9" fmla="*/ 684 h 684"/>
                  <a:gd name="T10" fmla="*/ 312 w 670"/>
                  <a:gd name="T11" fmla="*/ 669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0" h="684">
                    <a:moveTo>
                      <a:pt x="312" y="669"/>
                    </a:moveTo>
                    <a:lnTo>
                      <a:pt x="0" y="0"/>
                    </a:lnTo>
                    <a:lnTo>
                      <a:pt x="670" y="313"/>
                    </a:lnTo>
                    <a:lnTo>
                      <a:pt x="667" y="438"/>
                    </a:lnTo>
                    <a:lnTo>
                      <a:pt x="324" y="684"/>
                    </a:lnTo>
                    <a:lnTo>
                      <a:pt x="312" y="66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23">
                <a:extLst>
                  <a:ext uri="{FF2B5EF4-FFF2-40B4-BE49-F238E27FC236}">
                    <a16:creationId xmlns:a16="http://schemas.microsoft.com/office/drawing/2014/main" id="{BA61994C-A019-416B-856D-2251FB855E3B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913728" y="2831919"/>
                <a:ext cx="2865848" cy="2868194"/>
              </a:xfrm>
              <a:custGeom>
                <a:avLst/>
                <a:gdLst>
                  <a:gd name="T0" fmla="*/ 1477 w 1495"/>
                  <a:gd name="T1" fmla="*/ 1404 h 1496"/>
                  <a:gd name="T2" fmla="*/ 1477 w 1495"/>
                  <a:gd name="T3" fmla="*/ 1470 h 1496"/>
                  <a:gd name="T4" fmla="*/ 1469 w 1495"/>
                  <a:gd name="T5" fmla="*/ 1478 h 1496"/>
                  <a:gd name="T6" fmla="*/ 1403 w 1495"/>
                  <a:gd name="T7" fmla="*/ 1478 h 1496"/>
                  <a:gd name="T8" fmla="*/ 18 w 1495"/>
                  <a:gd name="T9" fmla="*/ 92 h 1496"/>
                  <a:gd name="T10" fmla="*/ 18 w 1495"/>
                  <a:gd name="T11" fmla="*/ 26 h 1496"/>
                  <a:gd name="T12" fmla="*/ 26 w 1495"/>
                  <a:gd name="T13" fmla="*/ 18 h 1496"/>
                  <a:gd name="T14" fmla="*/ 92 w 1495"/>
                  <a:gd name="T15" fmla="*/ 18 h 1496"/>
                  <a:gd name="T16" fmla="*/ 1477 w 1495"/>
                  <a:gd name="T17" fmla="*/ 1404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95" h="1496">
                    <a:moveTo>
                      <a:pt x="1477" y="1404"/>
                    </a:moveTo>
                    <a:cubicBezTo>
                      <a:pt x="1495" y="1423"/>
                      <a:pt x="1495" y="1452"/>
                      <a:pt x="1477" y="1470"/>
                    </a:cubicBezTo>
                    <a:cubicBezTo>
                      <a:pt x="1469" y="1478"/>
                      <a:pt x="1469" y="1478"/>
                      <a:pt x="1469" y="1478"/>
                    </a:cubicBezTo>
                    <a:cubicBezTo>
                      <a:pt x="1451" y="1496"/>
                      <a:pt x="1422" y="1496"/>
                      <a:pt x="1403" y="1478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0" y="73"/>
                      <a:pt x="0" y="44"/>
                      <a:pt x="18" y="26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44" y="0"/>
                      <a:pt x="74" y="0"/>
                      <a:pt x="92" y="18"/>
                    </a:cubicBezTo>
                    <a:cubicBezTo>
                      <a:pt x="1477" y="1404"/>
                      <a:pt x="1477" y="1404"/>
                      <a:pt x="1477" y="1404"/>
                    </a:cubicBezTo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24">
                <a:extLst>
                  <a:ext uri="{FF2B5EF4-FFF2-40B4-BE49-F238E27FC236}">
                    <a16:creationId xmlns:a16="http://schemas.microsoft.com/office/drawing/2014/main" id="{B33109AE-FA37-43B0-804B-19F109F8F1BC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1080103" y="2721558"/>
                <a:ext cx="2867021" cy="2870540"/>
              </a:xfrm>
              <a:custGeom>
                <a:avLst/>
                <a:gdLst>
                  <a:gd name="T0" fmla="*/ 1477 w 1495"/>
                  <a:gd name="T1" fmla="*/ 1405 h 1497"/>
                  <a:gd name="T2" fmla="*/ 1477 w 1495"/>
                  <a:gd name="T3" fmla="*/ 1471 h 1497"/>
                  <a:gd name="T4" fmla="*/ 1469 w 1495"/>
                  <a:gd name="T5" fmla="*/ 1478 h 1497"/>
                  <a:gd name="T6" fmla="*/ 1403 w 1495"/>
                  <a:gd name="T7" fmla="*/ 1478 h 1497"/>
                  <a:gd name="T8" fmla="*/ 18 w 1495"/>
                  <a:gd name="T9" fmla="*/ 92 h 1497"/>
                  <a:gd name="T10" fmla="*/ 18 w 1495"/>
                  <a:gd name="T11" fmla="*/ 26 h 1497"/>
                  <a:gd name="T12" fmla="*/ 26 w 1495"/>
                  <a:gd name="T13" fmla="*/ 18 h 1497"/>
                  <a:gd name="T14" fmla="*/ 92 w 1495"/>
                  <a:gd name="T15" fmla="*/ 18 h 1497"/>
                  <a:gd name="T16" fmla="*/ 1477 w 1495"/>
                  <a:gd name="T17" fmla="*/ 1405 h 1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95" h="1497">
                    <a:moveTo>
                      <a:pt x="1477" y="1405"/>
                    </a:moveTo>
                    <a:cubicBezTo>
                      <a:pt x="1495" y="1423"/>
                      <a:pt x="1495" y="1452"/>
                      <a:pt x="1477" y="1471"/>
                    </a:cubicBezTo>
                    <a:cubicBezTo>
                      <a:pt x="1469" y="1478"/>
                      <a:pt x="1469" y="1478"/>
                      <a:pt x="1469" y="1478"/>
                    </a:cubicBezTo>
                    <a:cubicBezTo>
                      <a:pt x="1451" y="1497"/>
                      <a:pt x="1421" y="1497"/>
                      <a:pt x="1403" y="1478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0" y="74"/>
                      <a:pt x="0" y="44"/>
                      <a:pt x="18" y="26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44" y="0"/>
                      <a:pt x="73" y="0"/>
                      <a:pt x="92" y="18"/>
                    </a:cubicBezTo>
                    <a:lnTo>
                      <a:pt x="1477" y="1405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:a16="http://schemas.microsoft.com/office/drawing/2014/main" id="{82091E09-A99D-49E0-B9E1-1A3CC5E5CCA7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747447" y="2940183"/>
                <a:ext cx="2867021" cy="2869367"/>
              </a:xfrm>
              <a:custGeom>
                <a:avLst/>
                <a:gdLst>
                  <a:gd name="T0" fmla="*/ 1477 w 1495"/>
                  <a:gd name="T1" fmla="*/ 1404 h 1496"/>
                  <a:gd name="T2" fmla="*/ 1477 w 1495"/>
                  <a:gd name="T3" fmla="*/ 1470 h 1496"/>
                  <a:gd name="T4" fmla="*/ 1469 w 1495"/>
                  <a:gd name="T5" fmla="*/ 1478 h 1496"/>
                  <a:gd name="T6" fmla="*/ 1403 w 1495"/>
                  <a:gd name="T7" fmla="*/ 1478 h 1496"/>
                  <a:gd name="T8" fmla="*/ 18 w 1495"/>
                  <a:gd name="T9" fmla="*/ 92 h 1496"/>
                  <a:gd name="T10" fmla="*/ 18 w 1495"/>
                  <a:gd name="T11" fmla="*/ 26 h 1496"/>
                  <a:gd name="T12" fmla="*/ 26 w 1495"/>
                  <a:gd name="T13" fmla="*/ 18 h 1496"/>
                  <a:gd name="T14" fmla="*/ 92 w 1495"/>
                  <a:gd name="T15" fmla="*/ 18 h 1496"/>
                  <a:gd name="T16" fmla="*/ 1477 w 1495"/>
                  <a:gd name="T17" fmla="*/ 1404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95" h="1496">
                    <a:moveTo>
                      <a:pt x="1477" y="1404"/>
                    </a:moveTo>
                    <a:cubicBezTo>
                      <a:pt x="1495" y="1422"/>
                      <a:pt x="1495" y="1452"/>
                      <a:pt x="1477" y="1470"/>
                    </a:cubicBezTo>
                    <a:cubicBezTo>
                      <a:pt x="1469" y="1478"/>
                      <a:pt x="1469" y="1478"/>
                      <a:pt x="1469" y="1478"/>
                    </a:cubicBezTo>
                    <a:cubicBezTo>
                      <a:pt x="1451" y="1496"/>
                      <a:pt x="1422" y="1496"/>
                      <a:pt x="1403" y="1478"/>
                    </a:cubicBezTo>
                    <a:cubicBezTo>
                      <a:pt x="18" y="92"/>
                      <a:pt x="18" y="92"/>
                      <a:pt x="18" y="92"/>
                    </a:cubicBezTo>
                    <a:cubicBezTo>
                      <a:pt x="0" y="73"/>
                      <a:pt x="0" y="44"/>
                      <a:pt x="18" y="26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44" y="0"/>
                      <a:pt x="74" y="0"/>
                      <a:pt x="92" y="18"/>
                    </a:cubicBezTo>
                    <a:cubicBezTo>
                      <a:pt x="1477" y="1404"/>
                      <a:pt x="1477" y="1404"/>
                      <a:pt x="1477" y="1404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:a16="http://schemas.microsoft.com/office/drawing/2014/main" id="{7A61617D-CA4E-4A0B-9C9D-9B2CFFEF19F8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833688" y="2016132"/>
                <a:ext cx="208809" cy="209982"/>
              </a:xfrm>
              <a:custGeom>
                <a:avLst/>
                <a:gdLst>
                  <a:gd name="T0" fmla="*/ 0 w 109"/>
                  <a:gd name="T1" fmla="*/ 0 h 109"/>
                  <a:gd name="T2" fmla="*/ 50 w 109"/>
                  <a:gd name="T3" fmla="*/ 106 h 109"/>
                  <a:gd name="T4" fmla="*/ 89 w 109"/>
                  <a:gd name="T5" fmla="*/ 89 h 109"/>
                  <a:gd name="T6" fmla="*/ 107 w 109"/>
                  <a:gd name="T7" fmla="*/ 50 h 109"/>
                  <a:gd name="T8" fmla="*/ 0 w 109"/>
                  <a:gd name="T9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109">
                    <a:moveTo>
                      <a:pt x="0" y="0"/>
                    </a:move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69" y="109"/>
                      <a:pt x="89" y="89"/>
                    </a:cubicBezTo>
                    <a:cubicBezTo>
                      <a:pt x="109" y="69"/>
                      <a:pt x="107" y="50"/>
                      <a:pt x="107" y="5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DEC6986D-F40D-4641-B711-EC1FFED9AEE0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145450" y="5643808"/>
                <a:ext cx="614696" cy="613524"/>
              </a:xfrm>
              <a:custGeom>
                <a:avLst/>
                <a:gdLst>
                  <a:gd name="T0" fmla="*/ 524 w 524"/>
                  <a:gd name="T1" fmla="*/ 162 h 523"/>
                  <a:gd name="T2" fmla="*/ 163 w 524"/>
                  <a:gd name="T3" fmla="*/ 523 h 523"/>
                  <a:gd name="T4" fmla="*/ 0 w 524"/>
                  <a:gd name="T5" fmla="*/ 359 h 523"/>
                  <a:gd name="T6" fmla="*/ 361 w 524"/>
                  <a:gd name="T7" fmla="*/ 0 h 523"/>
                  <a:gd name="T8" fmla="*/ 524 w 524"/>
                  <a:gd name="T9" fmla="*/ 162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4" h="523">
                    <a:moveTo>
                      <a:pt x="524" y="162"/>
                    </a:moveTo>
                    <a:lnTo>
                      <a:pt x="163" y="523"/>
                    </a:lnTo>
                    <a:lnTo>
                      <a:pt x="0" y="359"/>
                    </a:lnTo>
                    <a:lnTo>
                      <a:pt x="361" y="0"/>
                    </a:lnTo>
                    <a:lnTo>
                      <a:pt x="524" y="162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:a16="http://schemas.microsoft.com/office/drawing/2014/main" id="{BEC40EBF-66D6-4137-803C-A06D412FB5EC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145450" y="5643808"/>
                <a:ext cx="614696" cy="613524"/>
              </a:xfrm>
              <a:custGeom>
                <a:avLst/>
                <a:gdLst>
                  <a:gd name="T0" fmla="*/ 524 w 524"/>
                  <a:gd name="T1" fmla="*/ 162 h 523"/>
                  <a:gd name="T2" fmla="*/ 163 w 524"/>
                  <a:gd name="T3" fmla="*/ 523 h 523"/>
                  <a:gd name="T4" fmla="*/ 0 w 524"/>
                  <a:gd name="T5" fmla="*/ 359 h 523"/>
                  <a:gd name="T6" fmla="*/ 361 w 524"/>
                  <a:gd name="T7" fmla="*/ 0 h 523"/>
                  <a:gd name="T8" fmla="*/ 524 w 524"/>
                  <a:gd name="T9" fmla="*/ 162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4" h="523">
                    <a:moveTo>
                      <a:pt x="524" y="162"/>
                    </a:moveTo>
                    <a:lnTo>
                      <a:pt x="163" y="523"/>
                    </a:lnTo>
                    <a:lnTo>
                      <a:pt x="0" y="359"/>
                    </a:lnTo>
                    <a:lnTo>
                      <a:pt x="361" y="0"/>
                    </a:lnTo>
                    <a:lnTo>
                      <a:pt x="524" y="16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29">
                <a:extLst>
                  <a:ext uri="{FF2B5EF4-FFF2-40B4-BE49-F238E27FC236}">
                    <a16:creationId xmlns:a16="http://schemas.microsoft.com/office/drawing/2014/main" id="{D21374DA-6CCF-4A46-8371-A6664371FD4A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267575" y="5795612"/>
                <a:ext cx="495042" cy="495042"/>
              </a:xfrm>
              <a:custGeom>
                <a:avLst/>
                <a:gdLst>
                  <a:gd name="T0" fmla="*/ 231 w 258"/>
                  <a:gd name="T1" fmla="*/ 11 h 258"/>
                  <a:gd name="T2" fmla="*/ 11 w 258"/>
                  <a:gd name="T3" fmla="*/ 231 h 258"/>
                  <a:gd name="T4" fmla="*/ 28 w 258"/>
                  <a:gd name="T5" fmla="*/ 247 h 258"/>
                  <a:gd name="T6" fmla="*/ 247 w 258"/>
                  <a:gd name="T7" fmla="*/ 28 h 258"/>
                  <a:gd name="T8" fmla="*/ 231 w 258"/>
                  <a:gd name="T9" fmla="*/ 11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258">
                    <a:moveTo>
                      <a:pt x="231" y="11"/>
                    </a:moveTo>
                    <a:cubicBezTo>
                      <a:pt x="158" y="84"/>
                      <a:pt x="84" y="158"/>
                      <a:pt x="11" y="231"/>
                    </a:cubicBezTo>
                    <a:cubicBezTo>
                      <a:pt x="0" y="241"/>
                      <a:pt x="17" y="258"/>
                      <a:pt x="28" y="247"/>
                    </a:cubicBezTo>
                    <a:cubicBezTo>
                      <a:pt x="101" y="174"/>
                      <a:pt x="174" y="101"/>
                      <a:pt x="247" y="28"/>
                    </a:cubicBezTo>
                    <a:cubicBezTo>
                      <a:pt x="258" y="17"/>
                      <a:pt x="241" y="0"/>
                      <a:pt x="231" y="11"/>
                    </a:cubicBezTo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30">
                <a:extLst>
                  <a:ext uri="{FF2B5EF4-FFF2-40B4-BE49-F238E27FC236}">
                    <a16:creationId xmlns:a16="http://schemas.microsoft.com/office/drawing/2014/main" id="{8E374EA2-0917-4826-A4B4-139E68953397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206688" y="5702487"/>
                <a:ext cx="492696" cy="493869"/>
              </a:xfrm>
              <a:custGeom>
                <a:avLst/>
                <a:gdLst>
                  <a:gd name="T0" fmla="*/ 230 w 257"/>
                  <a:gd name="T1" fmla="*/ 10 h 257"/>
                  <a:gd name="T2" fmla="*/ 10 w 257"/>
                  <a:gd name="T3" fmla="*/ 230 h 257"/>
                  <a:gd name="T4" fmla="*/ 27 w 257"/>
                  <a:gd name="T5" fmla="*/ 246 h 257"/>
                  <a:gd name="T6" fmla="*/ 246 w 257"/>
                  <a:gd name="T7" fmla="*/ 27 h 257"/>
                  <a:gd name="T8" fmla="*/ 230 w 257"/>
                  <a:gd name="T9" fmla="*/ 1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7" h="257">
                    <a:moveTo>
                      <a:pt x="230" y="10"/>
                    </a:moveTo>
                    <a:cubicBezTo>
                      <a:pt x="157" y="83"/>
                      <a:pt x="83" y="157"/>
                      <a:pt x="10" y="230"/>
                    </a:cubicBezTo>
                    <a:cubicBezTo>
                      <a:pt x="0" y="241"/>
                      <a:pt x="16" y="257"/>
                      <a:pt x="27" y="246"/>
                    </a:cubicBezTo>
                    <a:cubicBezTo>
                      <a:pt x="100" y="173"/>
                      <a:pt x="173" y="100"/>
                      <a:pt x="246" y="27"/>
                    </a:cubicBezTo>
                    <a:cubicBezTo>
                      <a:pt x="257" y="16"/>
                      <a:pt x="240" y="0"/>
                      <a:pt x="230" y="10"/>
                    </a:cubicBezTo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31">
                <a:extLst>
                  <a:ext uri="{FF2B5EF4-FFF2-40B4-BE49-F238E27FC236}">
                    <a16:creationId xmlns:a16="http://schemas.microsoft.com/office/drawing/2014/main" id="{F60F3D9F-C588-46D1-B333-C5F37010F9A3}"/>
                  </a:ext>
                </a:extLst>
              </p:cNvPr>
              <p:cNvSpPr>
                <a:spLocks/>
              </p:cNvSpPr>
              <p:nvPr/>
            </p:nvSpPr>
            <p:spPr bwMode="auto">
              <a:xfrm rot="701861">
                <a:off x="3143457" y="5608188"/>
                <a:ext cx="495042" cy="495042"/>
              </a:xfrm>
              <a:custGeom>
                <a:avLst/>
                <a:gdLst>
                  <a:gd name="T0" fmla="*/ 230 w 258"/>
                  <a:gd name="T1" fmla="*/ 11 h 258"/>
                  <a:gd name="T2" fmla="*/ 11 w 258"/>
                  <a:gd name="T3" fmla="*/ 230 h 258"/>
                  <a:gd name="T4" fmla="*/ 28 w 258"/>
                  <a:gd name="T5" fmla="*/ 247 h 258"/>
                  <a:gd name="T6" fmla="*/ 247 w 258"/>
                  <a:gd name="T7" fmla="*/ 28 h 258"/>
                  <a:gd name="T8" fmla="*/ 230 w 258"/>
                  <a:gd name="T9" fmla="*/ 11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258">
                    <a:moveTo>
                      <a:pt x="230" y="11"/>
                    </a:moveTo>
                    <a:cubicBezTo>
                      <a:pt x="157" y="84"/>
                      <a:pt x="84" y="157"/>
                      <a:pt x="11" y="230"/>
                    </a:cubicBezTo>
                    <a:cubicBezTo>
                      <a:pt x="0" y="241"/>
                      <a:pt x="17" y="258"/>
                      <a:pt x="28" y="247"/>
                    </a:cubicBezTo>
                    <a:cubicBezTo>
                      <a:pt x="101" y="174"/>
                      <a:pt x="174" y="101"/>
                      <a:pt x="247" y="28"/>
                    </a:cubicBezTo>
                    <a:cubicBezTo>
                      <a:pt x="258" y="17"/>
                      <a:pt x="241" y="0"/>
                      <a:pt x="230" y="11"/>
                    </a:cubicBezTo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61722" tIns="30861" rIns="61722" bIns="308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48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1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226421" y="204948"/>
            <a:ext cx="5078530" cy="1631216"/>
            <a:chOff x="980039" y="3130267"/>
            <a:chExt cx="5078530" cy="1952186"/>
          </a:xfrm>
        </p:grpSpPr>
        <p:sp>
          <p:nvSpPr>
            <p:cNvPr id="62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63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952186"/>
              <a:chOff x="1505139" y="4207628"/>
              <a:chExt cx="5078530" cy="1952186"/>
            </a:xfrm>
          </p:grpSpPr>
          <p:sp>
            <p:nvSpPr>
              <p:cNvPr id="64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9521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ko-KR" sz="3200" dirty="0">
                    <a:solidFill>
                      <a:schemeClr val="bg1"/>
                    </a:solidFill>
                    <a:ea typeface="맑은 고딕" pitchFamily="50" charset="-127"/>
                  </a:rPr>
                  <a:t>Machine learning in security</a:t>
                </a: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5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4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9034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370658" y="269088"/>
            <a:ext cx="5078530" cy="1138773"/>
            <a:chOff x="980039" y="3130267"/>
            <a:chExt cx="5078530" cy="1362846"/>
          </a:xfrm>
        </p:grpSpPr>
        <p:sp>
          <p:nvSpPr>
            <p:cNvPr id="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62846"/>
              <a:chOff x="1505139" y="4207628"/>
              <a:chExt cx="5078530" cy="1362846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628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Credit card fraud</a:t>
                </a:r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5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sp>
        <p:nvSpPr>
          <p:cNvPr id="9" name="مربع نص 8"/>
          <p:cNvSpPr txBox="1"/>
          <p:nvPr/>
        </p:nvSpPr>
        <p:spPr>
          <a:xfrm>
            <a:off x="370658" y="1678672"/>
            <a:ext cx="54341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800" dirty="0">
                <a:solidFill>
                  <a:schemeClr val="bg1"/>
                </a:solidFill>
              </a:rPr>
              <a:t>What is fraud in credit card ?</a:t>
            </a:r>
          </a:p>
        </p:txBody>
      </p:sp>
      <p:sp>
        <p:nvSpPr>
          <p:cNvPr id="10" name="مربع نص 9"/>
          <p:cNvSpPr txBox="1"/>
          <p:nvPr/>
        </p:nvSpPr>
        <p:spPr>
          <a:xfrm>
            <a:off x="306131" y="3528664"/>
            <a:ext cx="54341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800" dirty="0">
                <a:solidFill>
                  <a:schemeClr val="bg1"/>
                </a:solidFill>
              </a:rPr>
              <a:t>How to detect credit card fraud ?</a:t>
            </a:r>
          </a:p>
        </p:txBody>
      </p:sp>
      <p:pic>
        <p:nvPicPr>
          <p:cNvPr id="11" name="صورة 10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2670272"/>
            <a:ext cx="4187853" cy="4175777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12" name="مربع نص 11"/>
          <p:cNvSpPr txBox="1"/>
          <p:nvPr/>
        </p:nvSpPr>
        <p:spPr>
          <a:xfrm>
            <a:off x="370658" y="2604517"/>
            <a:ext cx="54341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800" dirty="0">
                <a:solidFill>
                  <a:schemeClr val="bg1"/>
                </a:solidFill>
              </a:rPr>
              <a:t>Type of fraud in credit card ?</a:t>
            </a:r>
          </a:p>
        </p:txBody>
      </p:sp>
    </p:spTree>
    <p:extLst>
      <p:ext uri="{BB962C8B-B14F-4D97-AF65-F5344CB8AC3E}">
        <p14:creationId xmlns:p14="http://schemas.microsoft.com/office/powerpoint/2010/main" val="1240683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F0FC8B-E77D-4518-88B5-D4769F13D02B}"/>
              </a:ext>
            </a:extLst>
          </p:cNvPr>
          <p:cNvSpPr/>
          <p:nvPr/>
        </p:nvSpPr>
        <p:spPr>
          <a:xfrm>
            <a:off x="6420146" y="2746769"/>
            <a:ext cx="26728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Georgia" panose="02040502050405020303" pitchFamily="18" charset="0"/>
                <a:ea typeface="Cambria" panose="02040503050406030204" pitchFamily="18" charset="0"/>
              </a:rPr>
              <a:t>detect credit card fraud using technology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F017D2-71D1-4006-8F8E-106CE31671FC}"/>
              </a:ext>
            </a:extLst>
          </p:cNvPr>
          <p:cNvCxnSpPr/>
          <p:nvPr/>
        </p:nvCxnSpPr>
        <p:spPr>
          <a:xfrm>
            <a:off x="6782845" y="3947098"/>
            <a:ext cx="20480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3B13CFB-3186-4E61-A753-F2339F4A0FA5}"/>
              </a:ext>
            </a:extLst>
          </p:cNvPr>
          <p:cNvCxnSpPr/>
          <p:nvPr/>
        </p:nvCxnSpPr>
        <p:spPr>
          <a:xfrm>
            <a:off x="6960566" y="3986571"/>
            <a:ext cx="1692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1B3399B9-CA0C-462C-98A2-7B6544C1754E}"/>
              </a:ext>
            </a:extLst>
          </p:cNvPr>
          <p:cNvGrpSpPr/>
          <p:nvPr/>
        </p:nvGrpSpPr>
        <p:grpSpPr>
          <a:xfrm>
            <a:off x="191661" y="1247889"/>
            <a:ext cx="6047136" cy="4321291"/>
            <a:chOff x="319355" y="161616"/>
            <a:chExt cx="8062847" cy="5761721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EC3F9FF-9561-5D42-BD2E-2DD6D02F71E7}"/>
                </a:ext>
              </a:extLst>
            </p:cNvPr>
            <p:cNvSpPr/>
            <p:nvPr/>
          </p:nvSpPr>
          <p:spPr>
            <a:xfrm>
              <a:off x="3472857" y="161616"/>
              <a:ext cx="2272752" cy="2272752"/>
            </a:xfrm>
            <a:prstGeom prst="ellipse">
              <a:avLst/>
            </a:prstGeom>
            <a:gradFill flip="none" rotWithShape="1">
              <a:gsLst>
                <a:gs pos="57000">
                  <a:schemeClr val="accent3">
                    <a:lumMod val="5000"/>
                    <a:lumOff val="95000"/>
                  </a:schemeClr>
                </a:gs>
                <a:gs pos="80000">
                  <a:schemeClr val="accent3">
                    <a:lumMod val="45000"/>
                    <a:lumOff val="5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15875">
              <a:solidFill>
                <a:schemeClr val="bg1"/>
              </a:solidFill>
            </a:ln>
            <a:effectLst>
              <a:outerShdw blurRad="254000" dist="393700" dir="8100000" algn="tr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96DC2DA-B0A8-C346-BB22-3829B13ECDB2}"/>
                </a:ext>
              </a:extLst>
            </p:cNvPr>
            <p:cNvSpPr/>
            <p:nvPr/>
          </p:nvSpPr>
          <p:spPr>
            <a:xfrm>
              <a:off x="2506929" y="3030729"/>
              <a:ext cx="2892610" cy="2892608"/>
            </a:xfrm>
            <a:prstGeom prst="ellipse">
              <a:avLst/>
            </a:prstGeom>
            <a:gradFill flip="none" rotWithShape="1">
              <a:gsLst>
                <a:gs pos="57000">
                  <a:schemeClr val="accent3">
                    <a:lumMod val="5000"/>
                    <a:lumOff val="95000"/>
                  </a:schemeClr>
                </a:gs>
                <a:gs pos="80000">
                  <a:schemeClr val="accent3">
                    <a:lumMod val="45000"/>
                    <a:lumOff val="5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15875">
              <a:solidFill>
                <a:schemeClr val="bg1"/>
              </a:solidFill>
            </a:ln>
            <a:effectLst>
              <a:outerShdw blurRad="254000" dist="393700" dir="8100000" algn="tr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8DC6C9A-C39F-0A4C-A786-29052BC535B5}"/>
                </a:ext>
              </a:extLst>
            </p:cNvPr>
            <p:cNvSpPr/>
            <p:nvPr/>
          </p:nvSpPr>
          <p:spPr>
            <a:xfrm>
              <a:off x="319355" y="510349"/>
              <a:ext cx="2971516" cy="2971516"/>
            </a:xfrm>
            <a:prstGeom prst="ellipse">
              <a:avLst/>
            </a:prstGeom>
            <a:gradFill flip="none" rotWithShape="1">
              <a:gsLst>
                <a:gs pos="57000">
                  <a:schemeClr val="accent3">
                    <a:lumMod val="5000"/>
                    <a:lumOff val="95000"/>
                  </a:schemeClr>
                </a:gs>
                <a:gs pos="80000">
                  <a:schemeClr val="accent3">
                    <a:lumMod val="45000"/>
                    <a:lumOff val="5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15875">
              <a:solidFill>
                <a:schemeClr val="bg1"/>
              </a:solidFill>
            </a:ln>
            <a:effectLst>
              <a:outerShdw blurRad="254000" dist="393700" dir="8100000" algn="tr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DA022FC-D4CA-AE41-9708-C129644E2CC9}"/>
                </a:ext>
              </a:extLst>
            </p:cNvPr>
            <p:cNvSpPr/>
            <p:nvPr/>
          </p:nvSpPr>
          <p:spPr>
            <a:xfrm>
              <a:off x="5685844" y="2584036"/>
              <a:ext cx="2696358" cy="2696356"/>
            </a:xfrm>
            <a:prstGeom prst="ellipse">
              <a:avLst/>
            </a:prstGeom>
            <a:gradFill flip="none" rotWithShape="1">
              <a:gsLst>
                <a:gs pos="57000">
                  <a:schemeClr val="accent3">
                    <a:lumMod val="5000"/>
                    <a:lumOff val="95000"/>
                  </a:schemeClr>
                </a:gs>
                <a:gs pos="80000">
                  <a:schemeClr val="accent3">
                    <a:lumMod val="45000"/>
                    <a:lumOff val="5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15875">
              <a:solidFill>
                <a:schemeClr val="bg1"/>
              </a:solidFill>
            </a:ln>
            <a:effectLst>
              <a:outerShdw blurRad="254000" dist="393700" dir="8100000" algn="tr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8622B85-E2EA-492C-AD6C-9A10790080A3}"/>
                </a:ext>
              </a:extLst>
            </p:cNvPr>
            <p:cNvSpPr txBox="1"/>
            <p:nvPr/>
          </p:nvSpPr>
          <p:spPr>
            <a:xfrm>
              <a:off x="768387" y="1117327"/>
              <a:ext cx="2073449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Artificial and Computationl intelligence </a:t>
              </a:r>
              <a:endParaRPr lang="en-IN" sz="15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C9FD117-693C-4227-B79B-FDCD4555F54A}"/>
                </a:ext>
              </a:extLst>
            </p:cNvPr>
            <p:cNvSpPr txBox="1"/>
            <p:nvPr/>
          </p:nvSpPr>
          <p:spPr>
            <a:xfrm>
              <a:off x="3871312" y="658007"/>
              <a:ext cx="1435205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Machine learning </a:t>
              </a:r>
              <a:endParaRPr lang="en-IN" sz="15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84CF1EA-36E7-4E20-A07A-9D6ABCC51C27}"/>
                </a:ext>
              </a:extLst>
            </p:cNvPr>
            <p:cNvSpPr txBox="1"/>
            <p:nvPr/>
          </p:nvSpPr>
          <p:spPr>
            <a:xfrm>
              <a:off x="2588553" y="3425136"/>
              <a:ext cx="2729738" cy="1600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Genetic Algorithms and A Range of Additional Algorithms</a:t>
              </a:r>
              <a:endParaRPr lang="en-IN" sz="15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2A0217C-CDC5-430E-B32E-2CCEC095ABA0}"/>
                </a:ext>
              </a:extLst>
            </p:cNvPr>
            <p:cNvSpPr txBox="1"/>
            <p:nvPr/>
          </p:nvSpPr>
          <p:spPr>
            <a:xfrm>
              <a:off x="6199325" y="3214133"/>
              <a:ext cx="1513940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Neural Networks</a:t>
              </a:r>
              <a:endParaRPr lang="en-IN" sz="1500" dirty="0">
                <a:latin typeface="Georgia" panose="02040502050405020303" pitchFamily="18" charset="0"/>
                <a:ea typeface="Cambria" panose="02040503050406030204" pitchFamily="18" charset="0"/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B28F08B4-9D19-43BD-85B7-1F2F20B305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415" t="36546" r="24250" b="36996"/>
            <a:stretch/>
          </p:blipFill>
          <p:spPr>
            <a:xfrm>
              <a:off x="1634187" y="2331573"/>
              <a:ext cx="579258" cy="585435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74894A83-15EF-4EB9-85B8-8A2D5D0B7D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58" t="36907" r="50707" b="36635"/>
            <a:stretch/>
          </p:blipFill>
          <p:spPr>
            <a:xfrm>
              <a:off x="4418169" y="1613808"/>
              <a:ext cx="453854" cy="458694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0FF489E-6680-416D-8B31-D372AB3BAD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8" t="36771" r="78027" b="36771"/>
            <a:stretch/>
          </p:blipFill>
          <p:spPr>
            <a:xfrm>
              <a:off x="3661662" y="5025575"/>
              <a:ext cx="578179" cy="584343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494969FB-9B7A-4975-9A7F-7A08C1DAF5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232" t="-2288" r="-1567" b="75830"/>
            <a:stretch/>
          </p:blipFill>
          <p:spPr>
            <a:xfrm>
              <a:off x="6825488" y="4322096"/>
              <a:ext cx="534133" cy="5398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64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2">
            <a:extLst>
              <a:ext uri="{FF2B5EF4-FFF2-40B4-BE49-F238E27FC236}">
                <a16:creationId xmlns:a16="http://schemas.microsoft.com/office/drawing/2014/main" id="{813224DA-213F-4AAB-96D5-0CE22D552127}"/>
              </a:ext>
            </a:extLst>
          </p:cNvPr>
          <p:cNvGrpSpPr/>
          <p:nvPr/>
        </p:nvGrpSpPr>
        <p:grpSpPr>
          <a:xfrm>
            <a:off x="370658" y="242963"/>
            <a:ext cx="5078530" cy="1138773"/>
            <a:chOff x="980039" y="3130267"/>
            <a:chExt cx="5078530" cy="1362846"/>
          </a:xfrm>
        </p:grpSpPr>
        <p:sp>
          <p:nvSpPr>
            <p:cNvPr id="3" name="모서리가 둥근 직사각형 1">
              <a:extLst>
                <a:ext uri="{FF2B5EF4-FFF2-40B4-BE49-F238E27FC236}">
                  <a16:creationId xmlns:a16="http://schemas.microsoft.com/office/drawing/2014/main" id="{B4A4F22B-F4C8-4514-8A6A-80EBD210315C}"/>
                </a:ext>
              </a:extLst>
            </p:cNvPr>
            <p:cNvSpPr/>
            <p:nvPr/>
          </p:nvSpPr>
          <p:spPr>
            <a:xfrm rot="2700000">
              <a:off x="1018010" y="3157019"/>
              <a:ext cx="688011" cy="688011"/>
            </a:xfrm>
            <a:prstGeom prst="roundRect">
              <a:avLst>
                <a:gd name="adj" fmla="val 210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맑은 고딕" pitchFamily="50" charset="-127"/>
              </a:endParaRPr>
            </a:p>
          </p:txBody>
        </p:sp>
        <p:grpSp>
          <p:nvGrpSpPr>
            <p:cNvPr id="4" name="그룹 4">
              <a:extLst>
                <a:ext uri="{FF2B5EF4-FFF2-40B4-BE49-F238E27FC236}">
                  <a16:creationId xmlns:a16="http://schemas.microsoft.com/office/drawing/2014/main" id="{0FE208D1-162E-4284-B8DB-2B3EC2B383ED}"/>
                </a:ext>
              </a:extLst>
            </p:cNvPr>
            <p:cNvGrpSpPr/>
            <p:nvPr/>
          </p:nvGrpSpPr>
          <p:grpSpPr>
            <a:xfrm>
              <a:off x="980039" y="3130267"/>
              <a:ext cx="5078530" cy="1362846"/>
              <a:chOff x="1505139" y="4207628"/>
              <a:chExt cx="5078530" cy="1362846"/>
            </a:xfrm>
          </p:grpSpPr>
          <p:sp>
            <p:nvSpPr>
              <p:cNvPr id="5" name="Text Box 5">
                <a:extLst>
                  <a:ext uri="{FF2B5EF4-FFF2-40B4-BE49-F238E27FC236}">
                    <a16:creationId xmlns:a16="http://schemas.microsoft.com/office/drawing/2014/main" id="{EE809A94-17FD-4E23-8EFE-963A23DCDB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62282" y="4207628"/>
                <a:ext cx="4221387" cy="13628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3200" dirty="0">
                    <a:solidFill>
                      <a:schemeClr val="bg1">
                        <a:lumMod val="95000"/>
                      </a:schemeClr>
                    </a:solidFill>
                    <a:latin typeface="Cambria" panose="02040503050406030204" pitchFamily="18" charset="0"/>
                    <a:ea typeface="Cambria" panose="02040503050406030204" pitchFamily="18" charset="0"/>
                  </a:rPr>
                  <a:t>User data in dataset</a:t>
                </a:r>
                <a:endParaRPr lang="en-IN" sz="3200" dirty="0">
                  <a:solidFill>
                    <a:schemeClr val="bg1">
                      <a:lumMod val="95000"/>
                    </a:schemeClr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1" lang="en-US" altLang="ko-KR" sz="3600" b="1" dirty="0">
                  <a:solidFill>
                    <a:srgbClr val="662F30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  <p:sp>
            <p:nvSpPr>
              <p:cNvPr id="6" name="Text Box 4">
                <a:extLst>
                  <a:ext uri="{FF2B5EF4-FFF2-40B4-BE49-F238E27FC236}">
                    <a16:creationId xmlns:a16="http://schemas.microsoft.com/office/drawing/2014/main" id="{34D81437-368B-4273-AF1F-C8EC55BB1F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05139" y="4222213"/>
                <a:ext cx="591829" cy="6998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en-US" altLang="ko-KR" sz="3200" b="1" dirty="0">
                    <a:solidFill>
                      <a:schemeClr val="bg1"/>
                    </a:solidFill>
                    <a:latin typeface="+mj-lt"/>
                    <a:ea typeface="맑은 고딕" pitchFamily="50" charset="-127"/>
                    <a:cs typeface="굴림" pitchFamily="50" charset="-127"/>
                  </a:rPr>
                  <a:t>06</a:t>
                </a:r>
                <a:endParaRPr kumimoji="1" lang="ko-KR" altLang="ko-KR" sz="3200" b="1" dirty="0">
                  <a:solidFill>
                    <a:schemeClr val="bg1"/>
                  </a:solidFill>
                  <a:latin typeface="+mj-lt"/>
                  <a:ea typeface="맑은 고딕" pitchFamily="50" charset="-127"/>
                  <a:cs typeface="굴림" pitchFamily="50" charset="-127"/>
                </a:endParaRPr>
              </a:p>
            </p:txBody>
          </p:sp>
        </p:grpSp>
      </p:grpSp>
      <p:pic>
        <p:nvPicPr>
          <p:cNvPr id="8" name="صورة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07835"/>
            <a:ext cx="9144000" cy="610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صورة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1016"/>
            <a:ext cx="9144000" cy="6061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صورة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27197"/>
            <a:ext cx="9144000" cy="6370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صورة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64233"/>
            <a:ext cx="1741714" cy="5463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2" name="مربع نص 11"/>
          <p:cNvSpPr txBox="1"/>
          <p:nvPr/>
        </p:nvSpPr>
        <p:spPr>
          <a:xfrm>
            <a:off x="1097172" y="1469421"/>
            <a:ext cx="484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/>
                </a:solidFill>
              </a:rPr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2874647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1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83196"/>
      </a:accent1>
      <a:accent2>
        <a:srgbClr val="99013F"/>
      </a:accent2>
      <a:accent3>
        <a:srgbClr val="98CB36"/>
      </a:accent3>
      <a:accent4>
        <a:srgbClr val="EF3923"/>
      </a:accent4>
      <a:accent5>
        <a:srgbClr val="008BC6"/>
      </a:accent5>
      <a:accent6>
        <a:srgbClr val="EA5A95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نسق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46</TotalTime>
  <Words>505</Words>
  <Application>Microsoft Office PowerPoint</Application>
  <PresentationFormat>On-screen Show (4:3)</PresentationFormat>
  <Paragraphs>196</Paragraphs>
  <Slides>3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Adobe Fan Heiti Std B</vt:lpstr>
      <vt:lpstr>Arial</vt:lpstr>
      <vt:lpstr>Bahnschrift</vt:lpstr>
      <vt:lpstr>Bahnschrift Condensed</vt:lpstr>
      <vt:lpstr>Calibri</vt:lpstr>
      <vt:lpstr>Calibri Light</vt:lpstr>
      <vt:lpstr>Cambria</vt:lpstr>
      <vt:lpstr>Century</vt:lpstr>
      <vt:lpstr>Courier New</vt:lpstr>
      <vt:lpstr>Georgia</vt:lpstr>
      <vt:lpstr>Georgia Pro</vt:lpstr>
      <vt:lpstr>Georgia Pro Cond</vt:lpstr>
      <vt:lpstr>Georgia Pro Light</vt:lpstr>
      <vt:lpstr>Roboto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yappan J</dc:creator>
  <cp:lastModifiedBy>Nada Nemr</cp:lastModifiedBy>
  <cp:revision>236</cp:revision>
  <dcterms:created xsi:type="dcterms:W3CDTF">2021-02-05T09:28:07Z</dcterms:created>
  <dcterms:modified xsi:type="dcterms:W3CDTF">2024-07-18T12:30:43Z</dcterms:modified>
</cp:coreProperties>
</file>